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6.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58" r:id="rId3"/>
    <p:sldMasterId id="2147483648" r:id="rId4"/>
    <p:sldMasterId id="2147483677" r:id="rId5"/>
    <p:sldMasterId id="2147483705" r:id="rId6"/>
    <p:sldMasterId id="2147483714" r:id="rId7"/>
    <p:sldMasterId id="2147483752" r:id="rId8"/>
    <p:sldMasterId id="2147483770" r:id="rId9"/>
  </p:sldMasterIdLst>
  <p:notesMasterIdLst>
    <p:notesMasterId r:id="rId37"/>
  </p:notesMasterIdLst>
  <p:handoutMasterIdLst>
    <p:handoutMasterId r:id="rId38"/>
  </p:handoutMasterIdLst>
  <p:sldIdLst>
    <p:sldId id="260" r:id="rId10"/>
    <p:sldId id="2080108133" r:id="rId11"/>
    <p:sldId id="2080108858" r:id="rId12"/>
    <p:sldId id="2080108859" r:id="rId13"/>
    <p:sldId id="2080108860" r:id="rId14"/>
    <p:sldId id="2080108861" r:id="rId15"/>
    <p:sldId id="2080108862" r:id="rId16"/>
    <p:sldId id="2080108863" r:id="rId17"/>
    <p:sldId id="2080108868" r:id="rId18"/>
    <p:sldId id="2080108865" r:id="rId19"/>
    <p:sldId id="2080108866" r:id="rId20"/>
    <p:sldId id="2080108869" r:id="rId21"/>
    <p:sldId id="455" r:id="rId22"/>
    <p:sldId id="368" r:id="rId23"/>
    <p:sldId id="560" r:id="rId24"/>
    <p:sldId id="457" r:id="rId25"/>
    <p:sldId id="2080108134" r:id="rId26"/>
    <p:sldId id="446" r:id="rId27"/>
    <p:sldId id="447" r:id="rId28"/>
    <p:sldId id="2080108855" r:id="rId29"/>
    <p:sldId id="448" r:id="rId30"/>
    <p:sldId id="1970" r:id="rId31"/>
    <p:sldId id="2080108137" r:id="rId32"/>
    <p:sldId id="2080108852" r:id="rId33"/>
    <p:sldId id="450" r:id="rId34"/>
    <p:sldId id="584" r:id="rId35"/>
    <p:sldId id="2080108870" r:id="rId36"/>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8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my Avitabile" initials="AA" lastIdx="1" clrIdx="0">
    <p:extLst>
      <p:ext uri="{19B8F6BF-5375-455C-9EA6-DF929625EA0E}">
        <p15:presenceInfo xmlns:p15="http://schemas.microsoft.com/office/powerpoint/2012/main" userId="S-1-5-21-1214440339-861567501-682003330-136594818" providerId="AD"/>
      </p:ext>
    </p:extLst>
  </p:cmAuthor>
  <p:cmAuthor id="2" name="Twerdy, Matthew J                            Collins" initials="TMJC" lastIdx="1" clrIdx="1">
    <p:extLst>
      <p:ext uri="{19B8F6BF-5375-455C-9EA6-DF929625EA0E}">
        <p15:presenceInfo xmlns:p15="http://schemas.microsoft.com/office/powerpoint/2012/main" userId="S::10227526@adxuser.com::d38858aa-708a-4815-a2b5-f1c0d7a227a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DFE0E0"/>
    <a:srgbClr val="D9D9D6"/>
    <a:srgbClr val="63666A"/>
    <a:srgbClr val="CE1126"/>
    <a:srgbClr val="BFC1C2"/>
    <a:srgbClr val="B1B3B3"/>
    <a:srgbClr val="9ABEAA"/>
    <a:srgbClr val="908CC2"/>
    <a:srgbClr val="EFB6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3B4B98B0-60AC-42C2-AFA5-B58CD77FA1E5}">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332" autoAdjust="0"/>
    <p:restoredTop sz="85447" autoAdjust="0"/>
  </p:normalViewPr>
  <p:slideViewPr>
    <p:cSldViewPr snapToGrid="0">
      <p:cViewPr varScale="1">
        <p:scale>
          <a:sx n="90" d="100"/>
          <a:sy n="90" d="100"/>
        </p:scale>
        <p:origin x="1806" y="90"/>
      </p:cViewPr>
      <p:guideLst>
        <p:guide orient="horz" pos="4080"/>
        <p:guide pos="3840"/>
      </p:guideLst>
    </p:cSldViewPr>
  </p:slideViewPr>
  <p:outlineViewPr>
    <p:cViewPr>
      <p:scale>
        <a:sx n="33" d="100"/>
        <a:sy n="33" d="100"/>
      </p:scale>
      <p:origin x="0" y="-168"/>
    </p:cViewPr>
  </p:outlineViewPr>
  <p:notesTextViewPr>
    <p:cViewPr>
      <p:scale>
        <a:sx n="125" d="100"/>
        <a:sy n="125" d="100"/>
      </p:scale>
      <p:origin x="0" y="0"/>
    </p:cViewPr>
  </p:notesTextViewPr>
  <p:sorterViewPr>
    <p:cViewPr varScale="1">
      <p:scale>
        <a:sx n="1" d="1"/>
        <a:sy n="1" d="1"/>
      </p:scale>
      <p:origin x="0" y="0"/>
    </p:cViewPr>
  </p:sorterViewPr>
  <p:notesViewPr>
    <p:cSldViewPr snapToGrid="0" showGuides="1">
      <p:cViewPr>
        <p:scale>
          <a:sx n="70" d="100"/>
          <a:sy n="70" d="100"/>
        </p:scale>
        <p:origin x="4434" y="142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6.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commentAuthors" Target="commentAuthors.xml"/><Relationship Id="rId3" Type="http://schemas.openxmlformats.org/officeDocument/2006/relationships/slideMaster" Target="slideMasters/slideMaster1.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theme" Target="theme/theme1.xml"/><Relationship Id="rId7" Type="http://schemas.openxmlformats.org/officeDocument/2006/relationships/slideMaster" Target="slideMasters/slideMaster5.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4.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notesMaster" Target="notesMasters/notesMaster1.xml"/><Relationship Id="rId40" Type="http://schemas.openxmlformats.org/officeDocument/2006/relationships/presProps" Target="presProps.xml"/><Relationship Id="rId5"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 Type="http://schemas.openxmlformats.org/officeDocument/2006/relationships/slideMaster" Target="slideMasters/slideMaster2.xml"/><Relationship Id="rId9" Type="http://schemas.openxmlformats.org/officeDocument/2006/relationships/slideMaster" Target="slideMasters/slideMaster7.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Footer Placeholder 11"/>
          <p:cNvSpPr>
            <a:spLocks noGrp="1"/>
          </p:cNvSpPr>
          <p:nvPr>
            <p:ph type="ftr" sz="quarter" idx="2"/>
          </p:nvPr>
        </p:nvSpPr>
        <p:spPr>
          <a:xfrm>
            <a:off x="0" y="9014921"/>
            <a:ext cx="7023100" cy="282000"/>
          </a:xfrm>
          <a:prstGeom prst="rect">
            <a:avLst/>
          </a:prstGeom>
        </p:spPr>
        <p:txBody>
          <a:bodyPr vert="horz" lIns="93324" tIns="46662" rIns="93324" bIns="46662" rtlCol="0" anchor="b">
            <a:spAutoFit/>
          </a:bodyPr>
          <a:lstStyle>
            <a:lvl1pPr algn="l">
              <a:defRPr sz="1200"/>
            </a:lvl1pPr>
          </a:lstStyle>
          <a:p>
            <a:pPr algn="ctr"/>
            <a:endParaRPr lang="en-US" dirty="0"/>
          </a:p>
        </p:txBody>
      </p:sp>
      <p:sp>
        <p:nvSpPr>
          <p:cNvPr id="13" name="Slide Number Placeholder 12"/>
          <p:cNvSpPr>
            <a:spLocks noGrp="1"/>
          </p:cNvSpPr>
          <p:nvPr>
            <p:ph type="sldNum" sz="quarter" idx="3"/>
          </p:nvPr>
        </p:nvSpPr>
        <p:spPr>
          <a:xfrm>
            <a:off x="3979757" y="0"/>
            <a:ext cx="3043343" cy="467071"/>
          </a:xfrm>
          <a:prstGeom prst="rect">
            <a:avLst/>
          </a:prstGeom>
        </p:spPr>
        <p:txBody>
          <a:bodyPr vert="horz" lIns="93324" tIns="46662" rIns="93324" bIns="46662" rtlCol="0" anchor="b"/>
          <a:lstStyle>
            <a:lvl1pPr algn="r">
              <a:defRPr sz="1200"/>
            </a:lvl1pPr>
          </a:lstStyle>
          <a:p>
            <a:fld id="{138C58B0-FFE9-437E-B2CB-216DAFA841B5}" type="slidenum">
              <a:rPr lang="en-US" smtClean="0"/>
              <a:t>‹#›</a:t>
            </a:fld>
            <a:endParaRPr lang="en-US"/>
          </a:p>
        </p:txBody>
      </p:sp>
    </p:spTree>
    <p:extLst>
      <p:ext uri="{BB962C8B-B14F-4D97-AF65-F5344CB8AC3E}">
        <p14:creationId xmlns:p14="http://schemas.microsoft.com/office/powerpoint/2010/main" val="2414966732"/>
      </p:ext>
    </p:extLst>
  </p:cSld>
  <p:clrMap bg1="lt1" tx1="dk1" bg2="lt2" tx2="dk2" accent1="accent1" accent2="accent2" accent3="accent3" accent4="accent4" accent5="accent5" accent6="accent6" hlink="hlink" folHlink="folHlink"/>
  <p:hf hdr="0" dt="0"/>
  <p:extLst>
    <p:ext uri="{56416CCD-93CA-4268-BC5B-53C4BB910035}">
      <p15:sldGuideLst xmlns:p15="http://schemas.microsoft.com/office/powerpoint/2012/main">
        <p15:guide id="2" pos="295" userDrawn="1">
          <p15:clr>
            <a:srgbClr val="F26B43"/>
          </p15:clr>
        </p15:guide>
        <p15:guide id="3" pos="4129"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25488" y="704850"/>
            <a:ext cx="5618162" cy="3160713"/>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085005"/>
            <a:ext cx="5657497" cy="4168137"/>
          </a:xfrm>
          <a:prstGeom prst="rect">
            <a:avLst/>
          </a:prstGeom>
        </p:spPr>
        <p:txBody>
          <a:bodyPr vert="horz" lIns="0" tIns="0" rIns="0" bIns="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Footer Placeholder 13"/>
          <p:cNvSpPr>
            <a:spLocks noGrp="1"/>
          </p:cNvSpPr>
          <p:nvPr>
            <p:ph type="ftr" sz="quarter" idx="4"/>
          </p:nvPr>
        </p:nvSpPr>
        <p:spPr>
          <a:xfrm>
            <a:off x="0" y="8933100"/>
            <a:ext cx="7023100" cy="376000"/>
          </a:xfrm>
          <a:prstGeom prst="rect">
            <a:avLst/>
          </a:prstGeom>
        </p:spPr>
        <p:txBody>
          <a:bodyPr vert="horz" lIns="93324" tIns="46662" rIns="93324" bIns="46662" rtlCol="0" anchor="b">
            <a:spAutoFit/>
          </a:bodyPr>
          <a:lstStyle>
            <a:lvl1pPr algn="ctr">
              <a:defRPr lang="en-US"/>
            </a:lvl1pPr>
          </a:lstStyle>
          <a:p>
            <a:endParaRPr lang="en-US"/>
          </a:p>
        </p:txBody>
      </p:sp>
      <p:sp>
        <p:nvSpPr>
          <p:cNvPr id="15" name="Slide Number Placeholder 14"/>
          <p:cNvSpPr>
            <a:spLocks noGrp="1"/>
          </p:cNvSpPr>
          <p:nvPr>
            <p:ph type="sldNum" sz="quarter" idx="5"/>
          </p:nvPr>
        </p:nvSpPr>
        <p:spPr>
          <a:xfrm>
            <a:off x="3979757" y="9349"/>
            <a:ext cx="3043343" cy="467071"/>
          </a:xfrm>
          <a:prstGeom prst="rect">
            <a:avLst/>
          </a:prstGeom>
        </p:spPr>
        <p:txBody>
          <a:bodyPr vert="horz" lIns="93324" tIns="46662" rIns="93324" bIns="46662" rtlCol="0" anchor="b"/>
          <a:lstStyle>
            <a:lvl1pPr algn="r">
              <a:defRPr sz="1200"/>
            </a:lvl1pPr>
          </a:lstStyle>
          <a:p>
            <a:fld id="{56AF3A09-0EB5-429E-B7D0-FB28A7726D23}" type="slidenum">
              <a:rPr lang="en-US" smtClean="0"/>
              <a:t>‹#›</a:t>
            </a:fld>
            <a:endParaRPr lang="en-US"/>
          </a:p>
        </p:txBody>
      </p:sp>
    </p:spTree>
    <p:extLst>
      <p:ext uri="{BB962C8B-B14F-4D97-AF65-F5344CB8AC3E}">
        <p14:creationId xmlns:p14="http://schemas.microsoft.com/office/powerpoint/2010/main" val="2302219137"/>
      </p:ext>
    </p:extLst>
  </p:cSld>
  <p:clrMap bg1="lt1" tx1="dk1" bg2="lt2" tx2="dk2" accent1="accent1" accent2="accent2" accent3="accent3" accent4="accent4" accent5="accent5" accent6="accent6" hlink="hlink" folHlink="folHlink"/>
  <p:hf dt="0"/>
  <p:notesStyle>
    <a:lvl1pPr marL="115888" indent="-115888"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1pPr>
    <a:lvl2pPr marL="287338" indent="-117475"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2pPr>
    <a:lvl3pPr marL="457200" indent="-115888"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3pPr>
    <a:lvl4pPr marL="627063" indent="-115888"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4pPr>
    <a:lvl5pPr marL="860425" indent="-171450" algn="l" defTabSz="914400" rtl="0" eaLnBrk="1" latinLnBrk="0" hangingPunct="1">
      <a:spcBef>
        <a:spcPts val="200"/>
      </a:spcBef>
      <a:buFont typeface="Arial" panose="020B0604020202020204" pitchFamily="34" charset="0"/>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442" userDrawn="1">
          <p15:clr>
            <a:srgbClr val="F26B43"/>
          </p15:clr>
        </p15:guide>
        <p15:guide id="2" pos="400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41EFBCA-4782-4B4C-A17B-20A9EE729C6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131760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19</a:t>
            </a:fld>
            <a:endParaRPr lang="en-US"/>
          </a:p>
        </p:txBody>
      </p:sp>
    </p:spTree>
    <p:extLst>
      <p:ext uri="{BB962C8B-B14F-4D97-AF65-F5344CB8AC3E}">
        <p14:creationId xmlns:p14="http://schemas.microsoft.com/office/powerpoint/2010/main" val="324788528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F3A09-0EB5-429E-B7D0-FB28A7726D23}"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469128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21</a:t>
            </a:fld>
            <a:endParaRPr lang="en-US"/>
          </a:p>
        </p:txBody>
      </p:sp>
    </p:spTree>
    <p:extLst>
      <p:ext uri="{BB962C8B-B14F-4D97-AF65-F5344CB8AC3E}">
        <p14:creationId xmlns:p14="http://schemas.microsoft.com/office/powerpoint/2010/main" val="3098367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r>
              <a:rPr lang="en-US" dirty="0"/>
              <a:t>Dekker</a:t>
            </a:r>
          </a:p>
        </p:txBody>
      </p:sp>
      <p:sp>
        <p:nvSpPr>
          <p:cNvPr id="4" name="Footer Placeholder 3"/>
          <p:cNvSpPr>
            <a:spLocks noGrp="1"/>
          </p:cNvSpPr>
          <p:nvPr>
            <p:ph type="ftr" sz="quarter" idx="4"/>
          </p:nvPr>
        </p:nvSpPr>
        <p:spPr/>
        <p:txBody>
          <a:bodyPr/>
          <a:lstStyle/>
          <a:p>
            <a:pPr defTabSz="933237">
              <a:defRPr/>
            </a:pPr>
            <a:endParaRPr lang="en-US">
              <a:solidFill>
                <a:prstClr val="black"/>
              </a:solidFill>
              <a:latin typeface="Arial"/>
            </a:endParaRPr>
          </a:p>
        </p:txBody>
      </p:sp>
      <p:sp>
        <p:nvSpPr>
          <p:cNvPr id="5" name="Slide Number Placeholder 4"/>
          <p:cNvSpPr>
            <a:spLocks noGrp="1"/>
          </p:cNvSpPr>
          <p:nvPr>
            <p:ph type="sldNum" sz="quarter" idx="5"/>
          </p:nvPr>
        </p:nvSpPr>
        <p:spPr/>
        <p:txBody>
          <a:bodyPr/>
          <a:lstStyle/>
          <a:p>
            <a:pPr defTabSz="933237">
              <a:defRPr/>
            </a:pPr>
            <a:fld id="{56AF3A09-0EB5-429E-B7D0-FB28A7726D23}" type="slidenum">
              <a:rPr lang="en-US">
                <a:solidFill>
                  <a:prstClr val="black"/>
                </a:solidFill>
                <a:latin typeface="Arial"/>
              </a:rPr>
              <a:pPr defTabSz="933237">
                <a:defRPr/>
              </a:pPr>
              <a:t>22</a:t>
            </a:fld>
            <a:endParaRPr lang="en-US">
              <a:solidFill>
                <a:prstClr val="black"/>
              </a:solidFill>
              <a:latin typeface="Arial"/>
            </a:endParaRPr>
          </a:p>
        </p:txBody>
      </p:sp>
    </p:spTree>
    <p:extLst>
      <p:ext uri="{BB962C8B-B14F-4D97-AF65-F5344CB8AC3E}">
        <p14:creationId xmlns:p14="http://schemas.microsoft.com/office/powerpoint/2010/main" val="18751652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F3A09-0EB5-429E-B7D0-FB28A7726D23}"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426187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r>
              <a:rPr lang="en-US" dirty="0"/>
              <a:t>Key speaker points:</a:t>
            </a:r>
          </a:p>
          <a:p>
            <a:pPr marL="0" indent="0">
              <a:buNone/>
            </a:pPr>
            <a:endParaRPr lang="en-US" dirty="0"/>
          </a:p>
          <a:p>
            <a:pPr marL="0" indent="0">
              <a:buNone/>
            </a:pPr>
            <a:r>
              <a:rPr lang="en-US" dirty="0"/>
              <a:t>Leaders or Managers should know this little but important fact.  The way they react or respond to an operational failure matters – and it matters a lot.  Coach, counsel, and press your leaders into knowing that they play an enormous role in event learning, and organizational culture.</a:t>
            </a:r>
          </a:p>
          <a:p>
            <a:pPr marL="0" indent="0">
              <a:buNone/>
            </a:pPr>
            <a:endParaRPr lang="en-US" dirty="0"/>
          </a:p>
          <a:p>
            <a:pPr marL="0" indent="0">
              <a:buNone/>
            </a:pPr>
            <a:r>
              <a:rPr lang="en-US" dirty="0"/>
              <a:t>These nine things remind managers to be aware of both their reactions and responses; it suggests some better alternatives to ask when confronted with an event.</a:t>
            </a:r>
          </a:p>
          <a:p>
            <a:pPr marL="0" indent="0">
              <a:buNone/>
            </a:pPr>
            <a:endParaRPr lang="en-US" dirty="0"/>
          </a:p>
          <a:p>
            <a:pPr marL="0" indent="0">
              <a:buNone/>
            </a:pPr>
            <a:r>
              <a:rPr lang="en-US" dirty="0"/>
              <a:t>When we actively try to gather explanations and stories, and not reasons and causes, we will get decidedly different, higher quality reporting of events, unsafe conditions, or near misses.</a:t>
            </a:r>
          </a:p>
          <a:p>
            <a:pPr marL="0" indent="0">
              <a:buNone/>
            </a:pPr>
            <a:endParaRPr lang="en-US" dirty="0"/>
          </a:p>
          <a:p>
            <a:pPr marL="0" indent="0">
              <a:buNone/>
            </a:pPr>
            <a:r>
              <a:rPr lang="en-US" dirty="0"/>
              <a:t>Reference: Todd Conklin (Pre-Accident Investigations: An Introduction to Organizational Safety)</a:t>
            </a:r>
          </a:p>
          <a:p>
            <a:pPr marL="0" indent="0">
              <a:buNone/>
            </a:pP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25</a:t>
            </a:fld>
            <a:endParaRPr lang="en-US"/>
          </a:p>
        </p:txBody>
      </p:sp>
    </p:spTree>
    <p:extLst>
      <p:ext uri="{BB962C8B-B14F-4D97-AF65-F5344CB8AC3E}">
        <p14:creationId xmlns:p14="http://schemas.microsoft.com/office/powerpoint/2010/main" val="26246499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r>
              <a:rPr lang="en-US" dirty="0"/>
              <a:t>In summary, we can remember…</a:t>
            </a:r>
          </a:p>
          <a:p>
            <a:pPr marL="171450" indent="-171450">
              <a:buFont typeface="Arial" panose="020B0604020202020204" pitchFamily="34" charset="0"/>
              <a:buChar char="•"/>
            </a:pPr>
            <a:r>
              <a:rPr lang="en-US" dirty="0"/>
              <a:t>That error is normal, people will make mistakes</a:t>
            </a:r>
          </a:p>
          <a:p>
            <a:pPr marL="171450" indent="-171450">
              <a:buFont typeface="Arial" panose="020B0604020202020204" pitchFamily="34" charset="0"/>
              <a:buChar char="•"/>
            </a:pPr>
            <a:r>
              <a:rPr lang="en-US" dirty="0"/>
              <a:t>Learning from an incident is vital</a:t>
            </a:r>
          </a:p>
          <a:p>
            <a:pPr marL="171450" indent="-171450">
              <a:buFont typeface="Arial" panose="020B0604020202020204" pitchFamily="34" charset="0"/>
              <a:buChar char="•"/>
            </a:pPr>
            <a:r>
              <a:rPr lang="en-US" dirty="0"/>
              <a:t>Blame fixes nothing</a:t>
            </a:r>
          </a:p>
          <a:p>
            <a:pPr marL="171450" indent="-171450">
              <a:buFont typeface="Arial" panose="020B0604020202020204" pitchFamily="34" charset="0"/>
              <a:buChar char="•"/>
            </a:pPr>
            <a:r>
              <a:rPr lang="en-US" dirty="0"/>
              <a:t>Work is variable and doesn’t always happen as planned</a:t>
            </a:r>
          </a:p>
          <a:p>
            <a:pPr marL="171450" indent="-171450">
              <a:buFont typeface="Arial" panose="020B0604020202020204" pitchFamily="34" charset="0"/>
              <a:buChar char="•"/>
            </a:pPr>
            <a:r>
              <a:rPr lang="en-US" dirty="0"/>
              <a:t>The expanded event factors chart can help us integrate safety culture into our incident investigations</a:t>
            </a:r>
          </a:p>
          <a:p>
            <a:pPr marL="171450" indent="-171450">
              <a:buFont typeface="Arial" panose="020B0604020202020204" pitchFamily="34" charset="0"/>
              <a:buChar char="•"/>
            </a:pPr>
            <a:r>
              <a:rPr lang="en-US" dirty="0"/>
              <a:t>The goal is to use the expanded event factors chart to LEARN how the context of work may have influenced the employee mindset and the decisions made</a:t>
            </a:r>
          </a:p>
          <a:p>
            <a:pPr marL="171450" indent="-171450">
              <a:buFont typeface="Arial" panose="020B0604020202020204" pitchFamily="34" charset="0"/>
              <a:buChar char="•"/>
            </a:pPr>
            <a:r>
              <a:rPr lang="en-US" dirty="0"/>
              <a:t>This is why it is important to interview the people involved with an open-minded approach, expecting to learn from them and understand WHY they made the decisions they made</a:t>
            </a:r>
          </a:p>
          <a:p>
            <a:pPr marL="171450" indent="-171450">
              <a:buFont typeface="Arial" panose="020B0604020202020204" pitchFamily="34" charset="0"/>
              <a:buChar char="•"/>
            </a:pPr>
            <a:r>
              <a:rPr lang="en-US" dirty="0"/>
              <a:t>This tool can help us identify where are processes and systems can be improved to remove obstacles and support our employees in making better decisions and avoid incident recurrence</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F3A09-0EB5-429E-B7D0-FB28A7726D23}"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3902373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xfrm>
            <a:off x="406400" y="696913"/>
            <a:ext cx="6197600" cy="3486150"/>
          </a:xfrm>
          <a:ln/>
        </p:spPr>
      </p:sp>
      <p:sp>
        <p:nvSpPr>
          <p:cNvPr id="3" name="Notes Placeholder 2"/>
          <p:cNvSpPr>
            <a:spLocks noGrp="1"/>
          </p:cNvSpPr>
          <p:nvPr>
            <p:ph type="body" idx="1"/>
          </p:nvPr>
        </p:nvSpPr>
        <p:spPr>
          <a:xfrm>
            <a:off x="701361" y="4416510"/>
            <a:ext cx="5607679" cy="4183220"/>
          </a:xfrm>
          <a:prstGeom prst="rect">
            <a:avLst/>
          </a:prstGeom>
        </p:spPr>
        <p:txBody>
          <a:bodyPr lIns="92117" tIns="46058" rIns="92117" bIns="46058"/>
          <a:lstStyle/>
          <a:p>
            <a:endParaRPr lang="en-US" b="0" dirty="0">
              <a:latin typeface="Tahoma" panose="020B0604030504040204" pitchFamily="34" charset="0"/>
              <a:ea typeface="Tahoma" panose="020B0604030504040204" pitchFamily="34" charset="0"/>
              <a:cs typeface="Tahoma" panose="020B0604030504040204" pitchFamily="34" charset="0"/>
            </a:endParaRPr>
          </a:p>
        </p:txBody>
      </p:sp>
      <p:sp>
        <p:nvSpPr>
          <p:cNvPr id="1751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cs typeface="Arial" pitchFamily="34" charset="0"/>
              </a:defRPr>
            </a:lvl1pPr>
            <a:lvl2pPr marL="748448" indent="-287865" eaLnBrk="0" hangingPunct="0">
              <a:spcBef>
                <a:spcPct val="30000"/>
              </a:spcBef>
              <a:defRPr sz="1200">
                <a:solidFill>
                  <a:schemeClr val="tx1"/>
                </a:solidFill>
                <a:latin typeface="Arial" pitchFamily="34" charset="0"/>
                <a:cs typeface="Arial" pitchFamily="34" charset="0"/>
              </a:defRPr>
            </a:lvl2pPr>
            <a:lvl3pPr marL="1151458" indent="-230292" eaLnBrk="0" hangingPunct="0">
              <a:spcBef>
                <a:spcPct val="30000"/>
              </a:spcBef>
              <a:defRPr sz="1200">
                <a:solidFill>
                  <a:schemeClr val="tx1"/>
                </a:solidFill>
                <a:latin typeface="Arial" pitchFamily="34" charset="0"/>
                <a:cs typeface="Arial" pitchFamily="34" charset="0"/>
              </a:defRPr>
            </a:lvl3pPr>
            <a:lvl4pPr marL="1612041" indent="-230292" eaLnBrk="0" hangingPunct="0">
              <a:spcBef>
                <a:spcPct val="30000"/>
              </a:spcBef>
              <a:defRPr sz="1200">
                <a:solidFill>
                  <a:schemeClr val="tx1"/>
                </a:solidFill>
                <a:latin typeface="Arial" pitchFamily="34" charset="0"/>
                <a:cs typeface="Arial" pitchFamily="34" charset="0"/>
              </a:defRPr>
            </a:lvl4pPr>
            <a:lvl5pPr marL="2072625" indent="-230292" eaLnBrk="0" hangingPunct="0">
              <a:spcBef>
                <a:spcPct val="30000"/>
              </a:spcBef>
              <a:defRPr sz="1200">
                <a:solidFill>
                  <a:schemeClr val="tx1"/>
                </a:solidFill>
                <a:latin typeface="Arial" pitchFamily="34" charset="0"/>
                <a:cs typeface="Arial" pitchFamily="34" charset="0"/>
              </a:defRPr>
            </a:lvl5pPr>
            <a:lvl6pPr marL="2533208" indent="-230292" eaLnBrk="0" fontAlgn="base" hangingPunct="0">
              <a:spcBef>
                <a:spcPct val="30000"/>
              </a:spcBef>
              <a:spcAft>
                <a:spcPct val="0"/>
              </a:spcAft>
              <a:defRPr sz="1200">
                <a:solidFill>
                  <a:schemeClr val="tx1"/>
                </a:solidFill>
                <a:latin typeface="Arial" pitchFamily="34" charset="0"/>
                <a:cs typeface="Arial" pitchFamily="34" charset="0"/>
              </a:defRPr>
            </a:lvl6pPr>
            <a:lvl7pPr marL="2993791" indent="-230292" eaLnBrk="0" fontAlgn="base" hangingPunct="0">
              <a:spcBef>
                <a:spcPct val="30000"/>
              </a:spcBef>
              <a:spcAft>
                <a:spcPct val="0"/>
              </a:spcAft>
              <a:defRPr sz="1200">
                <a:solidFill>
                  <a:schemeClr val="tx1"/>
                </a:solidFill>
                <a:latin typeface="Arial" pitchFamily="34" charset="0"/>
                <a:cs typeface="Arial" pitchFamily="34" charset="0"/>
              </a:defRPr>
            </a:lvl7pPr>
            <a:lvl8pPr marL="3454375" indent="-230292" eaLnBrk="0" fontAlgn="base" hangingPunct="0">
              <a:spcBef>
                <a:spcPct val="30000"/>
              </a:spcBef>
              <a:spcAft>
                <a:spcPct val="0"/>
              </a:spcAft>
              <a:defRPr sz="1200">
                <a:solidFill>
                  <a:schemeClr val="tx1"/>
                </a:solidFill>
                <a:latin typeface="Arial" pitchFamily="34" charset="0"/>
                <a:cs typeface="Arial" pitchFamily="34" charset="0"/>
              </a:defRPr>
            </a:lvl8pPr>
            <a:lvl9pPr marL="3914958" indent="-230292"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E8E4D249-7DA7-4A3C-B7A3-FA68682AF18A}" type="slidenum">
              <a:rPr lang="en-US" altLang="en-US" smtClean="0"/>
              <a:pPr eaLnBrk="1" hangingPunct="1">
                <a:spcBef>
                  <a:spcPct val="0"/>
                </a:spcBef>
              </a:pPr>
              <a:t>5</a:t>
            </a:fld>
            <a:endParaRPr lang="en-US" altLang="en-US"/>
          </a:p>
        </p:txBody>
      </p:sp>
      <p:sp>
        <p:nvSpPr>
          <p:cNvPr id="2" name="Footer Placeholder 1"/>
          <p:cNvSpPr>
            <a:spLocks noGrp="1"/>
          </p:cNvSpPr>
          <p:nvPr>
            <p:ph type="ftr" sz="quarter" idx="10"/>
          </p:nvPr>
        </p:nvSpPr>
        <p:spPr/>
        <p:txBody>
          <a:bodyPr/>
          <a:lstStyle/>
          <a:p>
            <a:pPr>
              <a:defRPr/>
            </a:pPr>
            <a:r>
              <a:rPr lang="en-US"/>
              <a:t>OpX Safety</a:t>
            </a:r>
          </a:p>
        </p:txBody>
      </p:sp>
      <p:sp>
        <p:nvSpPr>
          <p:cNvPr id="4" name="Header Placeholder 3"/>
          <p:cNvSpPr>
            <a:spLocks noGrp="1"/>
          </p:cNvSpPr>
          <p:nvPr>
            <p:ph type="hdr" sz="quarter" idx="11"/>
          </p:nvPr>
        </p:nvSpPr>
        <p:spPr>
          <a:xfrm>
            <a:off x="0" y="1"/>
            <a:ext cx="3037627" cy="464980"/>
          </a:xfrm>
          <a:prstGeom prst="rect">
            <a:avLst/>
          </a:prstGeom>
        </p:spPr>
        <p:txBody>
          <a:bodyPr/>
          <a:lstStyle/>
          <a:p>
            <a:pPr>
              <a:defRPr/>
            </a:pPr>
            <a:r>
              <a:rPr lang="en-US"/>
              <a:t>Wood Group Incident Investigation Training</a:t>
            </a:r>
          </a:p>
        </p:txBody>
      </p:sp>
    </p:spTree>
    <p:extLst>
      <p:ext uri="{BB962C8B-B14F-4D97-AF65-F5344CB8AC3E}">
        <p14:creationId xmlns:p14="http://schemas.microsoft.com/office/powerpoint/2010/main" val="40787770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6" name="Slide Image Placeholder 1"/>
          <p:cNvSpPr>
            <a:spLocks noGrp="1" noRot="1" noChangeAspect="1" noTextEdit="1"/>
          </p:cNvSpPr>
          <p:nvPr>
            <p:ph type="sldImg"/>
          </p:nvPr>
        </p:nvSpPr>
        <p:spPr>
          <a:xfrm>
            <a:off x="406400" y="696913"/>
            <a:ext cx="6197600" cy="3486150"/>
          </a:xfrm>
          <a:ln/>
        </p:spPr>
      </p:sp>
      <p:sp>
        <p:nvSpPr>
          <p:cNvPr id="3" name="Notes Placeholder 2"/>
          <p:cNvSpPr>
            <a:spLocks noGrp="1"/>
          </p:cNvSpPr>
          <p:nvPr>
            <p:ph type="body" idx="1"/>
          </p:nvPr>
        </p:nvSpPr>
        <p:spPr>
          <a:xfrm>
            <a:off x="701361" y="4416510"/>
            <a:ext cx="5607679" cy="4183220"/>
          </a:xfrm>
          <a:prstGeom prst="rect">
            <a:avLst/>
          </a:prstGeom>
        </p:spPr>
        <p:txBody>
          <a:bodyPr lIns="92117" tIns="46058" rIns="92117" bIns="46058"/>
          <a:lstStyle/>
          <a:p>
            <a:endParaRPr lang="en-US" b="0" dirty="0">
              <a:latin typeface="Tahoma" panose="020B0604030504040204" pitchFamily="34" charset="0"/>
              <a:ea typeface="Tahoma" panose="020B0604030504040204" pitchFamily="34" charset="0"/>
              <a:cs typeface="Tahoma" panose="020B0604030504040204" pitchFamily="34" charset="0"/>
            </a:endParaRPr>
          </a:p>
        </p:txBody>
      </p:sp>
      <p:sp>
        <p:nvSpPr>
          <p:cNvPr id="17510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itchFamily="34" charset="0"/>
                <a:cs typeface="Arial" pitchFamily="34" charset="0"/>
              </a:defRPr>
            </a:lvl1pPr>
            <a:lvl2pPr marL="748448" indent="-287865" eaLnBrk="0" hangingPunct="0">
              <a:spcBef>
                <a:spcPct val="30000"/>
              </a:spcBef>
              <a:defRPr sz="1200">
                <a:solidFill>
                  <a:schemeClr val="tx1"/>
                </a:solidFill>
                <a:latin typeface="Arial" pitchFamily="34" charset="0"/>
                <a:cs typeface="Arial" pitchFamily="34" charset="0"/>
              </a:defRPr>
            </a:lvl2pPr>
            <a:lvl3pPr marL="1151458" indent="-230292" eaLnBrk="0" hangingPunct="0">
              <a:spcBef>
                <a:spcPct val="30000"/>
              </a:spcBef>
              <a:defRPr sz="1200">
                <a:solidFill>
                  <a:schemeClr val="tx1"/>
                </a:solidFill>
                <a:latin typeface="Arial" pitchFamily="34" charset="0"/>
                <a:cs typeface="Arial" pitchFamily="34" charset="0"/>
              </a:defRPr>
            </a:lvl3pPr>
            <a:lvl4pPr marL="1612041" indent="-230292" eaLnBrk="0" hangingPunct="0">
              <a:spcBef>
                <a:spcPct val="30000"/>
              </a:spcBef>
              <a:defRPr sz="1200">
                <a:solidFill>
                  <a:schemeClr val="tx1"/>
                </a:solidFill>
                <a:latin typeface="Arial" pitchFamily="34" charset="0"/>
                <a:cs typeface="Arial" pitchFamily="34" charset="0"/>
              </a:defRPr>
            </a:lvl4pPr>
            <a:lvl5pPr marL="2072625" indent="-230292" eaLnBrk="0" hangingPunct="0">
              <a:spcBef>
                <a:spcPct val="30000"/>
              </a:spcBef>
              <a:defRPr sz="1200">
                <a:solidFill>
                  <a:schemeClr val="tx1"/>
                </a:solidFill>
                <a:latin typeface="Arial" pitchFamily="34" charset="0"/>
                <a:cs typeface="Arial" pitchFamily="34" charset="0"/>
              </a:defRPr>
            </a:lvl5pPr>
            <a:lvl6pPr marL="2533208" indent="-230292" eaLnBrk="0" fontAlgn="base" hangingPunct="0">
              <a:spcBef>
                <a:spcPct val="30000"/>
              </a:spcBef>
              <a:spcAft>
                <a:spcPct val="0"/>
              </a:spcAft>
              <a:defRPr sz="1200">
                <a:solidFill>
                  <a:schemeClr val="tx1"/>
                </a:solidFill>
                <a:latin typeface="Arial" pitchFamily="34" charset="0"/>
                <a:cs typeface="Arial" pitchFamily="34" charset="0"/>
              </a:defRPr>
            </a:lvl6pPr>
            <a:lvl7pPr marL="2993791" indent="-230292" eaLnBrk="0" fontAlgn="base" hangingPunct="0">
              <a:spcBef>
                <a:spcPct val="30000"/>
              </a:spcBef>
              <a:spcAft>
                <a:spcPct val="0"/>
              </a:spcAft>
              <a:defRPr sz="1200">
                <a:solidFill>
                  <a:schemeClr val="tx1"/>
                </a:solidFill>
                <a:latin typeface="Arial" pitchFamily="34" charset="0"/>
                <a:cs typeface="Arial" pitchFamily="34" charset="0"/>
              </a:defRPr>
            </a:lvl7pPr>
            <a:lvl8pPr marL="3454375" indent="-230292" eaLnBrk="0" fontAlgn="base" hangingPunct="0">
              <a:spcBef>
                <a:spcPct val="30000"/>
              </a:spcBef>
              <a:spcAft>
                <a:spcPct val="0"/>
              </a:spcAft>
              <a:defRPr sz="1200">
                <a:solidFill>
                  <a:schemeClr val="tx1"/>
                </a:solidFill>
                <a:latin typeface="Arial" pitchFamily="34" charset="0"/>
                <a:cs typeface="Arial" pitchFamily="34" charset="0"/>
              </a:defRPr>
            </a:lvl8pPr>
            <a:lvl9pPr marL="3914958" indent="-230292" eaLnBrk="0" fontAlgn="base" hangingPunct="0">
              <a:spcBef>
                <a:spcPct val="30000"/>
              </a:spcBef>
              <a:spcAft>
                <a:spcPct val="0"/>
              </a:spcAft>
              <a:defRPr sz="1200">
                <a:solidFill>
                  <a:schemeClr val="tx1"/>
                </a:solidFill>
                <a:latin typeface="Arial" pitchFamily="34" charset="0"/>
                <a:cs typeface="Arial" pitchFamily="34" charset="0"/>
              </a:defRPr>
            </a:lvl9pPr>
          </a:lstStyle>
          <a:p>
            <a:pPr eaLnBrk="1" hangingPunct="1">
              <a:spcBef>
                <a:spcPct val="0"/>
              </a:spcBef>
            </a:pPr>
            <a:fld id="{E8E4D249-7DA7-4A3C-B7A3-FA68682AF18A}" type="slidenum">
              <a:rPr lang="en-US" altLang="en-US" smtClean="0"/>
              <a:pPr eaLnBrk="1" hangingPunct="1">
                <a:spcBef>
                  <a:spcPct val="0"/>
                </a:spcBef>
              </a:pPr>
              <a:t>9</a:t>
            </a:fld>
            <a:endParaRPr lang="en-US" altLang="en-US"/>
          </a:p>
        </p:txBody>
      </p:sp>
      <p:sp>
        <p:nvSpPr>
          <p:cNvPr id="2" name="Footer Placeholder 1"/>
          <p:cNvSpPr>
            <a:spLocks noGrp="1"/>
          </p:cNvSpPr>
          <p:nvPr>
            <p:ph type="ftr" sz="quarter" idx="10"/>
          </p:nvPr>
        </p:nvSpPr>
        <p:spPr/>
        <p:txBody>
          <a:bodyPr/>
          <a:lstStyle/>
          <a:p>
            <a:pPr>
              <a:defRPr/>
            </a:pPr>
            <a:r>
              <a:rPr lang="en-US"/>
              <a:t>OpX Safety</a:t>
            </a:r>
          </a:p>
        </p:txBody>
      </p:sp>
      <p:sp>
        <p:nvSpPr>
          <p:cNvPr id="4" name="Header Placeholder 3"/>
          <p:cNvSpPr>
            <a:spLocks noGrp="1"/>
          </p:cNvSpPr>
          <p:nvPr>
            <p:ph type="hdr" sz="quarter" idx="11"/>
          </p:nvPr>
        </p:nvSpPr>
        <p:spPr>
          <a:xfrm>
            <a:off x="0" y="1"/>
            <a:ext cx="3037627" cy="464980"/>
          </a:xfrm>
          <a:prstGeom prst="rect">
            <a:avLst/>
          </a:prstGeom>
        </p:spPr>
        <p:txBody>
          <a:bodyPr/>
          <a:lstStyle/>
          <a:p>
            <a:pPr>
              <a:defRPr/>
            </a:pPr>
            <a:r>
              <a:rPr lang="en-US"/>
              <a:t>Wood Group Incident Investigation Training</a:t>
            </a:r>
          </a:p>
        </p:txBody>
      </p:sp>
    </p:spTree>
    <p:extLst>
      <p:ext uri="{BB962C8B-B14F-4D97-AF65-F5344CB8AC3E}">
        <p14:creationId xmlns:p14="http://schemas.microsoft.com/office/powerpoint/2010/main" val="1579692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xfrm>
            <a:off x="419100" y="701675"/>
            <a:ext cx="6234113" cy="3508375"/>
          </a:xfrm>
          <a:ln/>
        </p:spPr>
      </p:sp>
      <p:sp>
        <p:nvSpPr>
          <p:cNvPr id="59395" name="Notes Placeholder 2"/>
          <p:cNvSpPr>
            <a:spLocks noGrp="1"/>
          </p:cNvSpPr>
          <p:nvPr>
            <p:ph type="body" idx="1"/>
          </p:nvPr>
        </p:nvSpPr>
        <p:spPr>
          <a:xfrm>
            <a:off x="701361" y="4416510"/>
            <a:ext cx="5607679" cy="4183220"/>
          </a:xfrm>
          <a:prstGeom prst="rect">
            <a:avLst/>
          </a:prstGeom>
          <a:noFill/>
        </p:spPr>
        <p:txBody>
          <a:bodyPr lIns="92117" tIns="46058" rIns="92117" bIns="46058"/>
          <a:lstStyle/>
          <a:p>
            <a:pPr marL="0" indent="0">
              <a:buNone/>
            </a:pPr>
            <a:endParaRPr lang="en-US" sz="1300" dirty="0"/>
          </a:p>
        </p:txBody>
      </p:sp>
      <p:sp>
        <p:nvSpPr>
          <p:cNvPr id="59397" name="Date Placeholder 4"/>
          <p:cNvSpPr>
            <a:spLocks noGrp="1"/>
          </p:cNvSpPr>
          <p:nvPr>
            <p:ph type="dt" sz="quarter" idx="1"/>
          </p:nvPr>
        </p:nvSpPr>
        <p:spPr>
          <a:xfrm>
            <a:off x="3971172" y="1"/>
            <a:ext cx="3037627" cy="464980"/>
          </a:xfrm>
          <a:prstGeom prst="rect">
            <a:avLst/>
          </a:prstGeom>
          <a:noFill/>
        </p:spPr>
        <p:txBody>
          <a:bodyPr/>
          <a:lstStyle>
            <a:lvl1pPr defTabSz="938664">
              <a:defRPr sz="1900">
                <a:solidFill>
                  <a:srgbClr val="000000"/>
                </a:solidFill>
                <a:latin typeface="Arial" pitchFamily="34" charset="0"/>
                <a:cs typeface="Arial" pitchFamily="34" charset="0"/>
              </a:defRPr>
            </a:lvl1pPr>
            <a:lvl2pPr marL="721339" indent="-277438" defTabSz="938664">
              <a:defRPr sz="1900">
                <a:solidFill>
                  <a:srgbClr val="000000"/>
                </a:solidFill>
                <a:latin typeface="Arial" pitchFamily="34" charset="0"/>
                <a:cs typeface="Arial" pitchFamily="34" charset="0"/>
              </a:defRPr>
            </a:lvl2pPr>
            <a:lvl3pPr marL="1109752" indent="-221951" defTabSz="938664">
              <a:defRPr sz="1900">
                <a:solidFill>
                  <a:srgbClr val="000000"/>
                </a:solidFill>
                <a:latin typeface="Arial" pitchFamily="34" charset="0"/>
                <a:cs typeface="Arial" pitchFamily="34" charset="0"/>
              </a:defRPr>
            </a:lvl3pPr>
            <a:lvl4pPr marL="1553652" indent="-221951" defTabSz="938664">
              <a:defRPr sz="1900">
                <a:solidFill>
                  <a:srgbClr val="000000"/>
                </a:solidFill>
                <a:latin typeface="Arial" pitchFamily="34" charset="0"/>
                <a:cs typeface="Arial" pitchFamily="34" charset="0"/>
              </a:defRPr>
            </a:lvl4pPr>
            <a:lvl5pPr marL="1997552" indent="-221951" defTabSz="938664">
              <a:defRPr sz="1900">
                <a:solidFill>
                  <a:srgbClr val="000000"/>
                </a:solidFill>
                <a:latin typeface="Arial" pitchFamily="34" charset="0"/>
                <a:cs typeface="Arial" pitchFamily="34" charset="0"/>
              </a:defRPr>
            </a:lvl5pPr>
            <a:lvl6pPr marL="2441453"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6pPr>
            <a:lvl7pPr marL="2885353"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7pPr>
            <a:lvl8pPr marL="3329255"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8pPr>
            <a:lvl9pPr marL="3773154"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9pPr>
          </a:lstStyle>
          <a:p>
            <a:r>
              <a:rPr lang="en-US" sz="1300">
                <a:solidFill>
                  <a:schemeClr val="tx1"/>
                </a:solidFill>
              </a:rPr>
              <a:t>May 8, 2014</a:t>
            </a:r>
          </a:p>
        </p:txBody>
      </p:sp>
      <p:sp>
        <p:nvSpPr>
          <p:cNvPr id="59398" name="Slide Number Placeholder 5"/>
          <p:cNvSpPr>
            <a:spLocks noGrp="1"/>
          </p:cNvSpPr>
          <p:nvPr>
            <p:ph type="sldNum" sz="quarter" idx="5"/>
          </p:nvPr>
        </p:nvSpPr>
        <p:spPr>
          <a:noFill/>
        </p:spPr>
        <p:txBody>
          <a:bodyPr/>
          <a:lstStyle>
            <a:lvl1pPr defTabSz="938664">
              <a:defRPr sz="1900">
                <a:solidFill>
                  <a:srgbClr val="000000"/>
                </a:solidFill>
                <a:latin typeface="Arial" pitchFamily="34" charset="0"/>
                <a:cs typeface="Arial" pitchFamily="34" charset="0"/>
              </a:defRPr>
            </a:lvl1pPr>
            <a:lvl2pPr marL="721339" indent="-277438" defTabSz="938664">
              <a:defRPr sz="1900">
                <a:solidFill>
                  <a:srgbClr val="000000"/>
                </a:solidFill>
                <a:latin typeface="Arial" pitchFamily="34" charset="0"/>
                <a:cs typeface="Arial" pitchFamily="34" charset="0"/>
              </a:defRPr>
            </a:lvl2pPr>
            <a:lvl3pPr marL="1109752" indent="-221951" defTabSz="938664">
              <a:defRPr sz="1900">
                <a:solidFill>
                  <a:srgbClr val="000000"/>
                </a:solidFill>
                <a:latin typeface="Arial" pitchFamily="34" charset="0"/>
                <a:cs typeface="Arial" pitchFamily="34" charset="0"/>
              </a:defRPr>
            </a:lvl3pPr>
            <a:lvl4pPr marL="1553652" indent="-221951" defTabSz="938664">
              <a:defRPr sz="1900">
                <a:solidFill>
                  <a:srgbClr val="000000"/>
                </a:solidFill>
                <a:latin typeface="Arial" pitchFamily="34" charset="0"/>
                <a:cs typeface="Arial" pitchFamily="34" charset="0"/>
              </a:defRPr>
            </a:lvl4pPr>
            <a:lvl5pPr marL="1997552" indent="-221951" defTabSz="938664">
              <a:defRPr sz="1900">
                <a:solidFill>
                  <a:srgbClr val="000000"/>
                </a:solidFill>
                <a:latin typeface="Arial" pitchFamily="34" charset="0"/>
                <a:cs typeface="Arial" pitchFamily="34" charset="0"/>
              </a:defRPr>
            </a:lvl5pPr>
            <a:lvl6pPr marL="2441453"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6pPr>
            <a:lvl7pPr marL="2885353"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7pPr>
            <a:lvl8pPr marL="3329255"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8pPr>
            <a:lvl9pPr marL="3773154" indent="-221951" algn="ctr" defTabSz="938664" eaLnBrk="0" fontAlgn="base" hangingPunct="0">
              <a:lnSpc>
                <a:spcPct val="85000"/>
              </a:lnSpc>
              <a:spcBef>
                <a:spcPct val="50000"/>
              </a:spcBef>
              <a:spcAft>
                <a:spcPct val="0"/>
              </a:spcAft>
              <a:defRPr sz="1900">
                <a:solidFill>
                  <a:srgbClr val="000000"/>
                </a:solidFill>
                <a:latin typeface="Arial" pitchFamily="34" charset="0"/>
                <a:cs typeface="Arial" pitchFamily="34" charset="0"/>
              </a:defRPr>
            </a:lvl9pPr>
          </a:lstStyle>
          <a:p>
            <a:fld id="{7E5128CC-025E-4246-ACF7-F8AF2CB71FA2}" type="slidenum">
              <a:rPr lang="en-US" sz="1300">
                <a:solidFill>
                  <a:schemeClr val="tx1"/>
                </a:solidFill>
              </a:rPr>
              <a:pPr/>
              <a:t>11</a:t>
            </a:fld>
            <a:endParaRPr lang="en-US" sz="1300">
              <a:solidFill>
                <a:schemeClr val="tx1"/>
              </a:solidFill>
            </a:endParaRPr>
          </a:p>
        </p:txBody>
      </p:sp>
      <p:sp>
        <p:nvSpPr>
          <p:cNvPr id="2" name="Footer Placeholder 1"/>
          <p:cNvSpPr>
            <a:spLocks noGrp="1"/>
          </p:cNvSpPr>
          <p:nvPr>
            <p:ph type="ftr" sz="quarter" idx="10"/>
          </p:nvPr>
        </p:nvSpPr>
        <p:spPr/>
        <p:txBody>
          <a:bodyPr/>
          <a:lstStyle/>
          <a:p>
            <a:r>
              <a:rPr lang="en-US">
                <a:solidFill>
                  <a:schemeClr val="tx1"/>
                </a:solidFill>
              </a:rPr>
              <a:t>OpX Safety</a:t>
            </a:r>
            <a:endParaRPr lang="en-US" dirty="0">
              <a:solidFill>
                <a:schemeClr val="tx1"/>
              </a:solidFill>
            </a:endParaRPr>
          </a:p>
        </p:txBody>
      </p:sp>
      <p:sp>
        <p:nvSpPr>
          <p:cNvPr id="3" name="Header Placeholder 2"/>
          <p:cNvSpPr>
            <a:spLocks noGrp="1"/>
          </p:cNvSpPr>
          <p:nvPr>
            <p:ph type="hdr" sz="quarter" idx="11"/>
          </p:nvPr>
        </p:nvSpPr>
        <p:spPr>
          <a:xfrm>
            <a:off x="0" y="1"/>
            <a:ext cx="3037627" cy="464980"/>
          </a:xfrm>
          <a:prstGeom prst="rect">
            <a:avLst/>
          </a:prstGeom>
        </p:spPr>
        <p:txBody>
          <a:bodyPr/>
          <a:lstStyle/>
          <a:p>
            <a:pPr>
              <a:defRPr/>
            </a:pPr>
            <a:r>
              <a:rPr lang="en-US"/>
              <a:t>Wood Group Incident Investigation Training</a:t>
            </a:r>
          </a:p>
        </p:txBody>
      </p:sp>
    </p:spTree>
    <p:extLst>
      <p:ext uri="{BB962C8B-B14F-4D97-AF65-F5344CB8AC3E}">
        <p14:creationId xmlns:p14="http://schemas.microsoft.com/office/powerpoint/2010/main" val="31030318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13</a:t>
            </a:fld>
            <a:endParaRPr lang="en-US"/>
          </a:p>
        </p:txBody>
      </p:sp>
    </p:spTree>
    <p:extLst>
      <p:ext uri="{BB962C8B-B14F-4D97-AF65-F5344CB8AC3E}">
        <p14:creationId xmlns:p14="http://schemas.microsoft.com/office/powerpoint/2010/main" val="1377868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92150" y="692150"/>
            <a:ext cx="5518150" cy="3103563"/>
          </a:xfrm>
        </p:spPr>
      </p:sp>
      <p:sp>
        <p:nvSpPr>
          <p:cNvPr id="3" name="Notes Placeholder 2"/>
          <p:cNvSpPr>
            <a:spLocks noGrp="1"/>
          </p:cNvSpPr>
          <p:nvPr>
            <p:ph type="body" idx="1"/>
          </p:nvPr>
        </p:nvSpPr>
        <p:spPr/>
        <p:txBody>
          <a:bodyPr/>
          <a:lstStyle/>
          <a:p>
            <a:pPr marL="219456" marR="0" lvl="0"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he terms ‘work-as-imagined’ and ‘work-as-done’ help to convey that the way that people think about work and the way that work is actually done are not necessarily the same. (Ref: Erik </a:t>
            </a:r>
            <a:r>
              <a:rPr kumimoji="0" lang="en-US" sz="2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Hollnagel</a:t>
            </a: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219456" marR="0" lvl="0"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endPar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219456" marR="0" lvl="0"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Key Points (</a:t>
            </a:r>
            <a:r>
              <a:rPr kumimoji="0" lang="en-US" sz="2200" b="0" i="0" u="none" strike="noStrike" kern="1200" cap="none" spc="0" normalizeH="0" baseline="0" noProof="0">
                <a:ln>
                  <a:noFill/>
                </a:ln>
                <a:solidFill>
                  <a:srgbClr val="000000"/>
                </a:solidFill>
                <a:effectLst/>
                <a:uLnTx/>
                <a:uFillTx/>
                <a:latin typeface="Arial" panose="020B0604020202020204" pitchFamily="34" charset="0"/>
                <a:ea typeface="+mn-ea"/>
                <a:cs typeface="+mn-cs"/>
              </a:rPr>
              <a:t>Ref: Erik </a:t>
            </a:r>
            <a:r>
              <a:rPr kumimoji="0" lang="en-US" sz="2200" b="0" i="0" u="none" strike="noStrike" kern="1200" cap="none" spc="0" normalizeH="0" baseline="0" noProof="0" dirty="0" err="1">
                <a:ln>
                  <a:noFill/>
                </a:ln>
                <a:solidFill>
                  <a:srgbClr val="000000"/>
                </a:solidFill>
                <a:effectLst/>
                <a:uLnTx/>
                <a:uFillTx/>
                <a:latin typeface="Arial" panose="020B0604020202020204" pitchFamily="34" charset="0"/>
                <a:ea typeface="+mn-ea"/>
                <a:cs typeface="+mn-cs"/>
              </a:rPr>
              <a:t>Hollnagel</a:t>
            </a: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t>
            </a:r>
          </a:p>
          <a:p>
            <a:pPr marL="0" marR="0" lvl="0" indent="0"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None/>
              <a:tabLst/>
              <a:defRPr/>
            </a:pPr>
            <a:endPar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a:p>
            <a:pPr marL="390906" marR="0" lvl="1"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 Work-as-imagined (WAI) refers to the various assumptions, explicit or implicit, that people have about how their or others’ work should be done.</a:t>
            </a:r>
          </a:p>
          <a:p>
            <a:pPr marL="390906" marR="0" lvl="1"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 Work-as-done (WAD) refers to how something is actually done, either in a specific case or routinely.</a:t>
            </a:r>
          </a:p>
          <a:p>
            <a:pPr marL="390906" marR="0" lvl="1"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 There is a difference between how work is ‘imagined’ or thought of and how work is actually done. This may or may not be problematic.</a:t>
            </a:r>
          </a:p>
          <a:p>
            <a:pPr marL="390906" marR="0" lvl="1"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 The solution to the gap is to try to understand what determines how work is done and to find effective ways of managing that to keep the variability of WAD within acceptable limits.</a:t>
            </a:r>
          </a:p>
          <a:p>
            <a:endParaRPr lang="en-US" dirty="0"/>
          </a:p>
        </p:txBody>
      </p:sp>
      <p:sp>
        <p:nvSpPr>
          <p:cNvPr id="4" name="Footer Placeholder 3"/>
          <p:cNvSpPr>
            <a:spLocks noGrp="1"/>
          </p:cNvSpPr>
          <p:nvPr>
            <p:ph type="ftr"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6AF3A09-0EB5-429E-B7D0-FB28A7726D23}"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2090673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25488" y="704850"/>
            <a:ext cx="5616575" cy="3159125"/>
          </a:xfrm>
        </p:spPr>
      </p:sp>
      <p:sp>
        <p:nvSpPr>
          <p:cNvPr id="3" name="Notes Placeholder 2"/>
          <p:cNvSpPr>
            <a:spLocks noGrp="1"/>
          </p:cNvSpPr>
          <p:nvPr>
            <p:ph type="body" idx="1"/>
          </p:nvPr>
        </p:nvSpPr>
        <p:spPr/>
        <p:txBody>
          <a:bodyPr/>
          <a:lstStyle/>
          <a:p>
            <a:r>
              <a:rPr lang="en-US" dirty="0"/>
              <a:t>How work REALLY gets done…</a:t>
            </a:r>
          </a:p>
          <a:p>
            <a:r>
              <a:rPr lang="en-US" dirty="0"/>
              <a:t>In this diagram, the BLACK line represents the work as it was planned and documented in procedures, work instructions, policies, etc.</a:t>
            </a:r>
          </a:p>
          <a:p>
            <a:r>
              <a:rPr lang="en-US" dirty="0"/>
              <a:t>The BLUE line represents that work tasks are somewhat variable. Work does not always follow the BLACK line path</a:t>
            </a:r>
          </a:p>
          <a:p>
            <a:r>
              <a:rPr lang="en-US" dirty="0"/>
              <a:t>Basically, that work is variable based upon external factors. Our employees are the “masters of the BLUE line”, the heroes of our workplace. They find a way to get the work done</a:t>
            </a:r>
          </a:p>
          <a:p>
            <a:r>
              <a:rPr lang="en-US" dirty="0"/>
              <a:t>There are many reasons this type of action is needed by the employees </a:t>
            </a:r>
          </a:p>
          <a:p>
            <a:r>
              <a:rPr lang="en-US" dirty="0"/>
              <a:t>There may be obstacles to overcome</a:t>
            </a:r>
          </a:p>
          <a:p>
            <a:r>
              <a:rPr lang="en-US" dirty="0"/>
              <a:t>The need to solve problems that arise during the task</a:t>
            </a:r>
          </a:p>
          <a:p>
            <a:r>
              <a:rPr lang="en-US" dirty="0"/>
              <a:t>Adapting to unforeseen issues</a:t>
            </a:r>
          </a:p>
          <a:p>
            <a:r>
              <a:rPr lang="en-US" dirty="0"/>
              <a:t>Working around problems to get the desired result.</a:t>
            </a:r>
          </a:p>
          <a:p>
            <a:r>
              <a:rPr lang="en-US" dirty="0"/>
              <a:t>In the vast majority of situations, the employees are successful in completing the task without a negative impact</a:t>
            </a:r>
          </a:p>
          <a:p>
            <a:r>
              <a:rPr lang="en-US" dirty="0"/>
              <a:t>This does, however, mean that there is a certain amount of unplanned activity that can lead to an accumulation of risk in the task</a:t>
            </a:r>
          </a:p>
          <a:p>
            <a:endParaRPr lang="en-US" dirty="0"/>
          </a:p>
        </p:txBody>
      </p:sp>
      <p:sp>
        <p:nvSpPr>
          <p:cNvPr id="4" name="Footer Placeholder 3"/>
          <p:cNvSpPr>
            <a:spLocks noGrp="1"/>
          </p:cNvSpPr>
          <p:nvPr>
            <p:ph type="ftr" sz="quarter" idx="4"/>
          </p:nvPr>
        </p:nvSpPr>
        <p:spPr/>
        <p:txBody>
          <a:bodyPr/>
          <a:lstStyle/>
          <a:p>
            <a:pPr defTabSz="933237">
              <a:defRPr/>
            </a:pPr>
            <a:endParaRPr lang="en-US" dirty="0">
              <a:solidFill>
                <a:prstClr val="black"/>
              </a:solidFill>
              <a:latin typeface="Arial"/>
            </a:endParaRPr>
          </a:p>
        </p:txBody>
      </p:sp>
      <p:sp>
        <p:nvSpPr>
          <p:cNvPr id="5" name="Slide Number Placeholder 4"/>
          <p:cNvSpPr>
            <a:spLocks noGrp="1"/>
          </p:cNvSpPr>
          <p:nvPr>
            <p:ph type="sldNum" sz="quarter" idx="5"/>
          </p:nvPr>
        </p:nvSpPr>
        <p:spPr/>
        <p:txBody>
          <a:bodyPr/>
          <a:lstStyle/>
          <a:p>
            <a:pPr defTabSz="933237">
              <a:defRPr/>
            </a:pPr>
            <a:fld id="{56AF3A09-0EB5-429E-B7D0-FB28A7726D23}" type="slidenum">
              <a:rPr lang="en-US">
                <a:solidFill>
                  <a:prstClr val="black"/>
                </a:solidFill>
                <a:latin typeface="Arial"/>
              </a:rPr>
              <a:pPr defTabSz="933237">
                <a:defRPr/>
              </a:pPr>
              <a:t>15</a:t>
            </a:fld>
            <a:endParaRPr lang="en-US" dirty="0">
              <a:solidFill>
                <a:prstClr val="black"/>
              </a:solidFill>
              <a:latin typeface="Arial"/>
            </a:endParaRPr>
          </a:p>
        </p:txBody>
      </p:sp>
    </p:spTree>
    <p:extLst>
      <p:ext uri="{BB962C8B-B14F-4D97-AF65-F5344CB8AC3E}">
        <p14:creationId xmlns:p14="http://schemas.microsoft.com/office/powerpoint/2010/main" val="13314193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endParaRPr lang="en-US" dirty="0"/>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16</a:t>
            </a:fld>
            <a:endParaRPr lang="en-US"/>
          </a:p>
        </p:txBody>
      </p:sp>
    </p:spTree>
    <p:extLst>
      <p:ext uri="{BB962C8B-B14F-4D97-AF65-F5344CB8AC3E}">
        <p14:creationId xmlns:p14="http://schemas.microsoft.com/office/powerpoint/2010/main" val="35560706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60413" y="717550"/>
            <a:ext cx="5716587" cy="3216275"/>
          </a:xfrm>
        </p:spPr>
      </p:sp>
      <p:sp>
        <p:nvSpPr>
          <p:cNvPr id="3" name="Notes Placeholder 2"/>
          <p:cNvSpPr>
            <a:spLocks noGrp="1"/>
          </p:cNvSpPr>
          <p:nvPr>
            <p:ph type="body" idx="1"/>
          </p:nvPr>
        </p:nvSpPr>
        <p:spPr/>
        <p:txBody>
          <a:bodyPr/>
          <a:lstStyle/>
          <a:p>
            <a:pPr marL="0" indent="0">
              <a:buNone/>
            </a:pPr>
            <a:r>
              <a:rPr lang="en-US" dirty="0"/>
              <a:t>Key speaker points:</a:t>
            </a:r>
          </a:p>
          <a:p>
            <a:pPr marL="0" indent="0">
              <a:buNone/>
            </a:pPr>
            <a:endParaRPr lang="en-US" dirty="0"/>
          </a:p>
          <a:p>
            <a:pPr marL="0" indent="0">
              <a:buNone/>
            </a:pPr>
            <a:r>
              <a:rPr lang="en-US" dirty="0"/>
              <a:t>“Human and Organizational Performance is based on the premise that humans are error prone and that if we expect people to do things right all the time, we are most likely going to be disappointed – a lot!” –Andrea Baker</a:t>
            </a:r>
          </a:p>
          <a:p>
            <a:pPr marL="0" indent="0">
              <a:buNone/>
            </a:pPr>
            <a:endParaRPr lang="en-US" dirty="0"/>
          </a:p>
          <a:p>
            <a:pPr marL="0" indent="0">
              <a:buNone/>
            </a:pPr>
            <a:r>
              <a:rPr lang="en-US" dirty="0"/>
              <a:t>The goal of Human and Organizational Performance is to become a lot less surprised by human error and instead become a lot more interested in learning from mistakes to build more tolerant forgiving systems that fail safely.  Human and Organizational Performance looks to tap into the workers as the solution by engaging them following an injury, near miss, good catch, high risk operation and even successes!</a:t>
            </a:r>
          </a:p>
        </p:txBody>
      </p:sp>
      <p:sp>
        <p:nvSpPr>
          <p:cNvPr id="4" name="Footer Placeholder 3"/>
          <p:cNvSpPr>
            <a:spLocks noGrp="1"/>
          </p:cNvSpPr>
          <p:nvPr>
            <p:ph type="ftr" sz="quarter" idx="4"/>
          </p:nvPr>
        </p:nvSpPr>
        <p:spPr/>
        <p:txBody>
          <a:bodyPr/>
          <a:lstStyle/>
          <a:p>
            <a:endParaRPr lang="en-US"/>
          </a:p>
        </p:txBody>
      </p:sp>
      <p:sp>
        <p:nvSpPr>
          <p:cNvPr id="5" name="Slide Number Placeholder 4"/>
          <p:cNvSpPr>
            <a:spLocks noGrp="1"/>
          </p:cNvSpPr>
          <p:nvPr>
            <p:ph type="sldNum" sz="quarter" idx="5"/>
          </p:nvPr>
        </p:nvSpPr>
        <p:spPr/>
        <p:txBody>
          <a:bodyPr/>
          <a:lstStyle/>
          <a:p>
            <a:fld id="{56AF3A09-0EB5-429E-B7D0-FB28A7726D23}" type="slidenum">
              <a:rPr lang="en-US" smtClean="0"/>
              <a:t>18</a:t>
            </a:fld>
            <a:endParaRPr lang="en-US"/>
          </a:p>
        </p:txBody>
      </p:sp>
    </p:spTree>
    <p:extLst>
      <p:ext uri="{BB962C8B-B14F-4D97-AF65-F5344CB8AC3E}">
        <p14:creationId xmlns:p14="http://schemas.microsoft.com/office/powerpoint/2010/main" val="339029067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jpeg"/><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0.emf"/><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5.xml"/><Relationship Id="rId4" Type="http://schemas.openxmlformats.org/officeDocument/2006/relationships/image" Target="../media/image4.sv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g"/><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g"/><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g"/><Relationship Id="rId1" Type="http://schemas.openxmlformats.org/officeDocument/2006/relationships/slideMaster" Target="../slideMasters/slideMaster6.xml"/><Relationship Id="rId4" Type="http://schemas.openxmlformats.org/officeDocument/2006/relationships/image" Target="../media/image4.sv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llins Cover: Logo">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49D2D5C-5099-6840-9993-0DB5894D75B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13810" y="2579326"/>
            <a:ext cx="7761201" cy="1313434"/>
          </a:xfrm>
          <a:prstGeom prst="rect">
            <a:avLst/>
          </a:prstGeom>
        </p:spPr>
      </p:pic>
      <p:cxnSp>
        <p:nvCxnSpPr>
          <p:cNvPr id="7" name="Straight Connector 6">
            <a:extLst>
              <a:ext uri="{FF2B5EF4-FFF2-40B4-BE49-F238E27FC236}">
                <a16:creationId xmlns:a16="http://schemas.microsoft.com/office/drawing/2014/main" id="{C4EA3825-3564-6247-895B-B0B7ED3761B6}"/>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2" name="Footer Placeholder 1">
            <a:extLst>
              <a:ext uri="{FF2B5EF4-FFF2-40B4-BE49-F238E27FC236}">
                <a16:creationId xmlns:a16="http://schemas.microsoft.com/office/drawing/2014/main" id="{0E274189-EC72-6748-B5E6-F9DEE34AF2D1}"/>
              </a:ext>
            </a:extLst>
          </p:cNvPr>
          <p:cNvSpPr>
            <a:spLocks noGrp="1"/>
          </p:cNvSpPr>
          <p:nvPr>
            <p:ph type="ftr" sz="quarter" idx="10"/>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448631393"/>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1" y="1535114"/>
            <a:ext cx="5386917"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4" name="Content Placeholder 3"/>
          <p:cNvSpPr>
            <a:spLocks noGrp="1"/>
          </p:cNvSpPr>
          <p:nvPr>
            <p:ph sz="half" idx="2"/>
          </p:nvPr>
        </p:nvSpPr>
        <p:spPr>
          <a:xfrm>
            <a:off x="609601" y="2174875"/>
            <a:ext cx="5386917" cy="3013971"/>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6" name="Content Placeholder 5"/>
          <p:cNvSpPr>
            <a:spLocks noGrp="1"/>
          </p:cNvSpPr>
          <p:nvPr>
            <p:ph sz="quarter" idx="4"/>
          </p:nvPr>
        </p:nvSpPr>
        <p:spPr>
          <a:xfrm>
            <a:off x="6193368" y="2174874"/>
            <a:ext cx="5389033" cy="2921349"/>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xfrm>
            <a:off x="4049037" y="5466718"/>
            <a:ext cx="3860800" cy="244475"/>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21512688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Collins Content: 1 column/photo">
    <p:bg>
      <p:bgRef idx="1001">
        <a:schemeClr val="bg1"/>
      </p:bgRef>
    </p:bg>
    <p:spTree>
      <p:nvGrpSpPr>
        <p:cNvPr id="1" name=""/>
        <p:cNvGrpSpPr/>
        <p:nvPr/>
      </p:nvGrpSpPr>
      <p:grpSpPr>
        <a:xfrm>
          <a:off x="0" y="0"/>
          <a:ext cx="0" cy="0"/>
          <a:chOff x="0" y="0"/>
          <a:chExt cx="0" cy="0"/>
        </a:xfrm>
      </p:grpSpPr>
      <p:sp>
        <p:nvSpPr>
          <p:cNvPr id="1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8C1C86D5-FAD5-0C48-B07B-53F7036D5DF0}"/>
              </a:ext>
            </a:extLst>
          </p:cNvPr>
          <p:cNvSpPr>
            <a:spLocks noGrp="1"/>
          </p:cNvSpPr>
          <p:nvPr>
            <p:ph type="ftr" sz="quarter" idx="22"/>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Picture Placeholder 2"/>
          <p:cNvSpPr>
            <a:spLocks noGrp="1"/>
          </p:cNvSpPr>
          <p:nvPr>
            <p:ph type="pic" sz="quarter" idx="17" hasCustomPrompt="1"/>
          </p:nvPr>
        </p:nvSpPr>
        <p:spPr>
          <a:xfrm>
            <a:off x="4381500" y="1572733"/>
            <a:ext cx="7124700" cy="4218468"/>
          </a:xfrm>
          <a:solidFill>
            <a:schemeClr val="bg2"/>
          </a:solidFill>
        </p:spPr>
        <p:txBody>
          <a:bodyPr tIns="1188720"/>
          <a:lstStyle>
            <a:lvl1pPr marL="0" indent="0" algn="ctr">
              <a:buNone/>
              <a:defRPr/>
            </a:lvl1pPr>
          </a:lstStyle>
          <a:p>
            <a:r>
              <a:rPr lang="en-US" dirty="0"/>
              <a:t>Click to insert photo</a:t>
            </a:r>
          </a:p>
        </p:txBody>
      </p:sp>
      <p:sp>
        <p:nvSpPr>
          <p:cNvPr id="10"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spc="300"/>
            </a:lvl1pPr>
          </a:lstStyle>
          <a:p>
            <a:r>
              <a:rPr lang="en-US" dirty="0"/>
              <a:t>TITLE. 32 PT. BLACK. REGULAR. UPPERCASE. TWO LINES MAX.</a:t>
            </a:r>
          </a:p>
        </p:txBody>
      </p:sp>
      <p:sp>
        <p:nvSpPr>
          <p:cNvPr id="13" name="Body1">
            <a:extLst>
              <a:ext uri="{FF2B5EF4-FFF2-40B4-BE49-F238E27FC236}">
                <a16:creationId xmlns:a16="http://schemas.microsoft.com/office/drawing/2014/main" id="{62E3D089-68B7-4822-83BC-A3AB43C943B9}"/>
              </a:ext>
            </a:extLst>
          </p:cNvPr>
          <p:cNvSpPr>
            <a:spLocks noGrp="1"/>
          </p:cNvSpPr>
          <p:nvPr>
            <p:ph sz="quarter" idx="26" hasCustomPrompt="1"/>
          </p:nvPr>
        </p:nvSpPr>
        <p:spPr>
          <a:xfrm>
            <a:off x="695325" y="2259013"/>
            <a:ext cx="3417888" cy="3532187"/>
          </a:xfrm>
        </p:spPr>
        <p:txBody>
          <a:bodyPr/>
          <a:lstStyle>
            <a:lvl1pPr>
              <a:defRPr sz="1800"/>
            </a:lvl1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14" name="Subhead1">
            <a:extLst>
              <a:ext uri="{FF2B5EF4-FFF2-40B4-BE49-F238E27FC236}">
                <a16:creationId xmlns:a16="http://schemas.microsoft.com/office/drawing/2014/main" id="{F579EC20-F4D4-4102-932C-DDE7FC33EB90}"/>
              </a:ext>
            </a:extLst>
          </p:cNvPr>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Tree>
    <p:extLst>
      <p:ext uri="{BB962C8B-B14F-4D97-AF65-F5344CB8AC3E}">
        <p14:creationId xmlns:p14="http://schemas.microsoft.com/office/powerpoint/2010/main" val="128247409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Collins Content: 2 column">
    <p:spTree>
      <p:nvGrpSpPr>
        <p:cNvPr id="1" name=""/>
        <p:cNvGrpSpPr/>
        <p:nvPr/>
      </p:nvGrpSpPr>
      <p:grpSpPr>
        <a:xfrm>
          <a:off x="0" y="0"/>
          <a:ext cx="0" cy="0"/>
          <a:chOff x="0" y="0"/>
          <a:chExt cx="0" cy="0"/>
        </a:xfrm>
      </p:grpSpPr>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6" name="Body2">
            <a:extLst>
              <a:ext uri="{FF2B5EF4-FFF2-40B4-BE49-F238E27FC236}">
                <a16:creationId xmlns:a16="http://schemas.microsoft.com/office/drawing/2014/main" id="{CE5A0B61-2E74-4DCF-A089-4B28CB5CEC6E}"/>
              </a:ext>
            </a:extLst>
          </p:cNvPr>
          <p:cNvSpPr>
            <a:spLocks noGrp="1"/>
          </p:cNvSpPr>
          <p:nvPr>
            <p:ph sz="quarter" idx="25" hasCustomPrompt="1"/>
          </p:nvPr>
        </p:nvSpPr>
        <p:spPr>
          <a:xfrm>
            <a:off x="6248400" y="2041525"/>
            <a:ext cx="5267325" cy="3722688"/>
          </a:xfrm>
        </p:spPr>
        <p:txBody>
          <a:bodyPr/>
          <a:lstStyle>
            <a:lvl1pPr>
              <a:defRPr sz="1800"/>
            </a:lvl1pPr>
            <a:lvl2pPr>
              <a:defRPr sz="1800"/>
            </a:lvl2pPr>
            <a:lvl3pPr>
              <a:defRPr sz="1600"/>
            </a:lvl3pPr>
            <a:lvl4pPr>
              <a:defRPr sz="1600"/>
            </a:lvl4pPr>
            <a:lvl5pPr>
              <a:defRPr sz="1600"/>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Body1">
            <a:extLst>
              <a:ext uri="{FF2B5EF4-FFF2-40B4-BE49-F238E27FC236}">
                <a16:creationId xmlns:a16="http://schemas.microsoft.com/office/drawing/2014/main" id="{8D572E75-F16E-465B-810F-8CDC10E16AAA}"/>
              </a:ext>
            </a:extLst>
          </p:cNvPr>
          <p:cNvSpPr>
            <a:spLocks noGrp="1"/>
          </p:cNvSpPr>
          <p:nvPr>
            <p:ph sz="quarter" idx="24" hasCustomPrompt="1"/>
          </p:nvPr>
        </p:nvSpPr>
        <p:spPr>
          <a:xfrm>
            <a:off x="695325" y="2068513"/>
            <a:ext cx="5246688" cy="3722687"/>
          </a:xfrm>
        </p:spPr>
        <p:txBody>
          <a:bodyPr/>
          <a:lstStyle>
            <a:lvl1pPr>
              <a:defRPr sz="1800"/>
            </a:lvl1pPr>
            <a:lvl2pPr>
              <a:defRPr sz="1800"/>
            </a:lvl2pPr>
            <a:lvl3pPr>
              <a:defRPr sz="1600"/>
            </a:lvl3pPr>
            <a:lvl4pPr>
              <a:defRPr sz="1600"/>
            </a:lvl4pPr>
            <a:lvl5pPr>
              <a:defRPr sz="1600"/>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ubhead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2" name="Subhead1"/>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2528641553"/>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Collins Content: 3 column">
    <p:spTree>
      <p:nvGrpSpPr>
        <p:cNvPr id="1" name=""/>
        <p:cNvGrpSpPr/>
        <p:nvPr/>
      </p:nvGrpSpPr>
      <p:grpSpPr>
        <a:xfrm>
          <a:off x="0" y="0"/>
          <a:ext cx="0" cy="0"/>
          <a:chOff x="0" y="0"/>
          <a:chExt cx="0" cy="0"/>
        </a:xfrm>
      </p:grpSpPr>
      <p:sp>
        <p:nvSpPr>
          <p:cNvPr id="21"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0325C011-809B-F142-87DD-B50CF52804EA}"/>
              </a:ext>
            </a:extLst>
          </p:cNvPr>
          <p:cNvSpPr>
            <a:spLocks noGrp="1"/>
          </p:cNvSpPr>
          <p:nvPr>
            <p:ph type="ftr" sz="quarter" idx="25"/>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8" name="Body3">
            <a:extLst>
              <a:ext uri="{FF2B5EF4-FFF2-40B4-BE49-F238E27FC236}">
                <a16:creationId xmlns:a16="http://schemas.microsoft.com/office/drawing/2014/main" id="{A3D382C2-293B-4490-AE51-4E1CD94BA47F}"/>
              </a:ext>
            </a:extLst>
          </p:cNvPr>
          <p:cNvSpPr>
            <a:spLocks noGrp="1"/>
          </p:cNvSpPr>
          <p:nvPr>
            <p:ph sz="quarter" idx="28" hasCustomPrompt="1"/>
          </p:nvPr>
        </p:nvSpPr>
        <p:spPr>
          <a:xfrm>
            <a:off x="8059738" y="2259013"/>
            <a:ext cx="3455987" cy="3532187"/>
          </a:xfrm>
        </p:spPr>
        <p:txBody>
          <a:bodyPr/>
          <a:lstStyle>
            <a:lvl1pPr>
              <a:defRPr sz="1800"/>
            </a:lvl1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6" name="Body2">
            <a:extLst>
              <a:ext uri="{FF2B5EF4-FFF2-40B4-BE49-F238E27FC236}">
                <a16:creationId xmlns:a16="http://schemas.microsoft.com/office/drawing/2014/main" id="{CB45F684-2379-4650-9BC3-F6532116FE5A}"/>
              </a:ext>
            </a:extLst>
          </p:cNvPr>
          <p:cNvSpPr>
            <a:spLocks noGrp="1"/>
          </p:cNvSpPr>
          <p:nvPr>
            <p:ph sz="quarter" idx="27" hasCustomPrompt="1"/>
          </p:nvPr>
        </p:nvSpPr>
        <p:spPr>
          <a:xfrm>
            <a:off x="4364038" y="2259013"/>
            <a:ext cx="3446462" cy="3532187"/>
          </a:xfrm>
        </p:spPr>
        <p:txBody>
          <a:bodyPr/>
          <a:lstStyle>
            <a:lvl1pPr>
              <a:defRPr sz="1800"/>
            </a:lvl1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4" name="Body1">
            <a:extLst>
              <a:ext uri="{FF2B5EF4-FFF2-40B4-BE49-F238E27FC236}">
                <a16:creationId xmlns:a16="http://schemas.microsoft.com/office/drawing/2014/main" id="{506B5483-5F87-4B37-8B61-92E335D4AC6C}"/>
              </a:ext>
            </a:extLst>
          </p:cNvPr>
          <p:cNvSpPr>
            <a:spLocks noGrp="1"/>
          </p:cNvSpPr>
          <p:nvPr>
            <p:ph sz="quarter" idx="26" hasCustomPrompt="1"/>
          </p:nvPr>
        </p:nvSpPr>
        <p:spPr>
          <a:xfrm>
            <a:off x="695325" y="2259013"/>
            <a:ext cx="3417888" cy="3532187"/>
          </a:xfrm>
        </p:spPr>
        <p:txBody>
          <a:bodyPr/>
          <a:lstStyle>
            <a:lvl1pPr>
              <a:defRPr sz="1800"/>
            </a:lvl1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16" name="Subhead3"/>
          <p:cNvSpPr>
            <a:spLocks noGrp="1"/>
          </p:cNvSpPr>
          <p:nvPr>
            <p:ph type="body" sz="quarter" idx="24" hasCustomPrompt="1"/>
          </p:nvPr>
        </p:nvSpPr>
        <p:spPr>
          <a:xfrm>
            <a:off x="8077200"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ubhead2"/>
          <p:cNvSpPr>
            <a:spLocks noGrp="1"/>
          </p:cNvSpPr>
          <p:nvPr>
            <p:ph type="body" sz="quarter" idx="23" hasCustomPrompt="1"/>
          </p:nvPr>
        </p:nvSpPr>
        <p:spPr>
          <a:xfrm>
            <a:off x="4364234"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Subhead1"/>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790548358"/>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Collins Content: 3 columns/photos">
    <p:spTree>
      <p:nvGrpSpPr>
        <p:cNvPr id="1" name=""/>
        <p:cNvGrpSpPr/>
        <p:nvPr/>
      </p:nvGrpSpPr>
      <p:grpSpPr>
        <a:xfrm>
          <a:off x="0" y="0"/>
          <a:ext cx="0" cy="0"/>
          <a:chOff x="0" y="0"/>
          <a:chExt cx="0" cy="0"/>
        </a:xfrm>
      </p:grpSpPr>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F2FFE885-255A-DE4B-B7E6-9A98CEBD81FA}"/>
              </a:ext>
            </a:extLst>
          </p:cNvPr>
          <p:cNvSpPr>
            <a:spLocks noGrp="1"/>
          </p:cNvSpPr>
          <p:nvPr>
            <p:ph type="ftr" sz="quarter" idx="2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3" name="Picture Placeholder 2"/>
          <p:cNvSpPr>
            <a:spLocks noGrp="1"/>
          </p:cNvSpPr>
          <p:nvPr>
            <p:ph type="pic" sz="quarter" idx="22" hasCustomPrompt="1"/>
          </p:nvPr>
        </p:nvSpPr>
        <p:spPr>
          <a:xfrm>
            <a:off x="685800" y="1312494"/>
            <a:ext cx="3429000" cy="1829708"/>
          </a:xfrm>
          <a:solidFill>
            <a:schemeClr val="bg2"/>
          </a:solidFill>
        </p:spPr>
        <p:txBody>
          <a:bodyPr tIns="365760"/>
          <a:lstStyle>
            <a:lvl1pPr marL="0" indent="0" algn="ctr">
              <a:buNone/>
              <a:defRPr sz="1800"/>
            </a:lvl1pPr>
          </a:lstStyle>
          <a:p>
            <a:r>
              <a:rPr lang="en-US" dirty="0"/>
              <a:t>Click to insert photo</a:t>
            </a:r>
          </a:p>
        </p:txBody>
      </p:sp>
      <p:sp>
        <p:nvSpPr>
          <p:cNvPr id="20" name="Picture Placeholder 2"/>
          <p:cNvSpPr>
            <a:spLocks noGrp="1"/>
          </p:cNvSpPr>
          <p:nvPr>
            <p:ph type="pic" sz="quarter" idx="23" hasCustomPrompt="1"/>
          </p:nvPr>
        </p:nvSpPr>
        <p:spPr>
          <a:xfrm>
            <a:off x="4381500" y="1312493"/>
            <a:ext cx="3429000" cy="1829709"/>
          </a:xfrm>
          <a:solidFill>
            <a:schemeClr val="bg2"/>
          </a:solidFill>
        </p:spPr>
        <p:txBody>
          <a:bodyPr tIns="365760"/>
          <a:lstStyle>
            <a:lvl1pPr marL="0" indent="0" algn="ctr">
              <a:buNone/>
              <a:defRPr sz="1800" baseline="0"/>
            </a:lvl1pPr>
          </a:lstStyle>
          <a:p>
            <a:r>
              <a:rPr lang="en-US" dirty="0"/>
              <a:t>Click to insert photo</a:t>
            </a:r>
          </a:p>
        </p:txBody>
      </p:sp>
      <p:sp>
        <p:nvSpPr>
          <p:cNvPr id="21" name="Picture Placeholder 2"/>
          <p:cNvSpPr>
            <a:spLocks noGrp="1"/>
          </p:cNvSpPr>
          <p:nvPr>
            <p:ph type="pic" sz="quarter" idx="24" hasCustomPrompt="1"/>
          </p:nvPr>
        </p:nvSpPr>
        <p:spPr>
          <a:xfrm>
            <a:off x="8077200" y="1312494"/>
            <a:ext cx="3429000" cy="1829708"/>
          </a:xfrm>
          <a:solidFill>
            <a:schemeClr val="bg2"/>
          </a:solidFill>
        </p:spPr>
        <p:txBody>
          <a:bodyPr tIns="365760"/>
          <a:lstStyle>
            <a:lvl1pPr marL="0" indent="0" algn="ctr">
              <a:buNone/>
              <a:defRPr sz="1800" baseline="0"/>
            </a:lvl1pPr>
          </a:lstStyle>
          <a:p>
            <a:r>
              <a:rPr lang="en-US" dirty="0"/>
              <a:t>Click to insert photo</a:t>
            </a:r>
          </a:p>
        </p:txBody>
      </p:sp>
      <p:sp>
        <p:nvSpPr>
          <p:cNvPr id="3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15" name="Takeaway bar">
            <a:extLst>
              <a:ext uri="{FF2B5EF4-FFF2-40B4-BE49-F238E27FC236}">
                <a16:creationId xmlns:a16="http://schemas.microsoft.com/office/drawing/2014/main" id="{473C7BBC-8A21-4A44-B2F3-EFACF76871B5}"/>
              </a:ext>
            </a:extLst>
          </p:cNvP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16" name="Body3">
            <a:extLst>
              <a:ext uri="{FF2B5EF4-FFF2-40B4-BE49-F238E27FC236}">
                <a16:creationId xmlns:a16="http://schemas.microsoft.com/office/drawing/2014/main" id="{B8F3E842-5D73-4C37-B25F-F5A68959E20E}"/>
              </a:ext>
            </a:extLst>
          </p:cNvPr>
          <p:cNvSpPr>
            <a:spLocks noGrp="1"/>
          </p:cNvSpPr>
          <p:nvPr>
            <p:ph sz="quarter" idx="29" hasCustomPrompt="1"/>
          </p:nvPr>
        </p:nvSpPr>
        <p:spPr>
          <a:xfrm>
            <a:off x="8041069" y="4022764"/>
            <a:ext cx="3455987" cy="1700240"/>
          </a:xfrm>
        </p:spPr>
        <p:txBody>
          <a:bodyPr/>
          <a:lstStyle>
            <a:lvl1pPr>
              <a:defRPr sz="1800"/>
            </a:lvl1pPr>
            <a:lvl5pPr marL="841248" indent="0">
              <a:buNone/>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p:txBody>
      </p:sp>
      <p:sp>
        <p:nvSpPr>
          <p:cNvPr id="24" name="Subhead3">
            <a:extLst>
              <a:ext uri="{FF2B5EF4-FFF2-40B4-BE49-F238E27FC236}">
                <a16:creationId xmlns:a16="http://schemas.microsoft.com/office/drawing/2014/main" id="{10F7AD7C-A7AC-4B6C-B516-7C8605B120FD}"/>
              </a:ext>
            </a:extLst>
          </p:cNvPr>
          <p:cNvSpPr>
            <a:spLocks noGrp="1"/>
          </p:cNvSpPr>
          <p:nvPr>
            <p:ph type="body" sz="quarter" idx="31" hasCustomPrompt="1"/>
          </p:nvPr>
        </p:nvSpPr>
        <p:spPr>
          <a:xfrm>
            <a:off x="8033145" y="333648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Body2">
            <a:extLst>
              <a:ext uri="{FF2B5EF4-FFF2-40B4-BE49-F238E27FC236}">
                <a16:creationId xmlns:a16="http://schemas.microsoft.com/office/drawing/2014/main" id="{782F5A16-B3C3-4474-8D84-8FFE53621B09}"/>
              </a:ext>
            </a:extLst>
          </p:cNvPr>
          <p:cNvSpPr>
            <a:spLocks noGrp="1"/>
          </p:cNvSpPr>
          <p:nvPr>
            <p:ph sz="quarter" idx="27" hasCustomPrompt="1"/>
          </p:nvPr>
        </p:nvSpPr>
        <p:spPr>
          <a:xfrm>
            <a:off x="4345369" y="4022764"/>
            <a:ext cx="3446462" cy="1700240"/>
          </a:xfrm>
        </p:spPr>
        <p:txBody>
          <a:bodyPr/>
          <a:lstStyle>
            <a:lvl1pPr>
              <a:defRPr sz="1800"/>
            </a:lvl1pPr>
            <a:lvl5pPr marL="841248" indent="0">
              <a:buNone/>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p:txBody>
      </p:sp>
      <p:sp>
        <p:nvSpPr>
          <p:cNvPr id="23" name="Subhead2">
            <a:extLst>
              <a:ext uri="{FF2B5EF4-FFF2-40B4-BE49-F238E27FC236}">
                <a16:creationId xmlns:a16="http://schemas.microsoft.com/office/drawing/2014/main" id="{AAE5DB7E-D84E-4D2F-860A-9C2F8150CFEF}"/>
              </a:ext>
            </a:extLst>
          </p:cNvPr>
          <p:cNvSpPr>
            <a:spLocks noGrp="1"/>
          </p:cNvSpPr>
          <p:nvPr>
            <p:ph type="body" sz="quarter" idx="30" hasCustomPrompt="1"/>
          </p:nvPr>
        </p:nvSpPr>
        <p:spPr>
          <a:xfrm>
            <a:off x="4340969" y="333648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9" name="Body1">
            <a:extLst>
              <a:ext uri="{FF2B5EF4-FFF2-40B4-BE49-F238E27FC236}">
                <a16:creationId xmlns:a16="http://schemas.microsoft.com/office/drawing/2014/main" id="{F58EE0DE-BE84-4A9F-A349-A400BBD90077}"/>
              </a:ext>
            </a:extLst>
          </p:cNvPr>
          <p:cNvSpPr>
            <a:spLocks noGrp="1"/>
          </p:cNvSpPr>
          <p:nvPr>
            <p:ph sz="quarter" idx="26" hasCustomPrompt="1"/>
          </p:nvPr>
        </p:nvSpPr>
        <p:spPr>
          <a:xfrm>
            <a:off x="676656" y="4022764"/>
            <a:ext cx="3417888" cy="1700240"/>
          </a:xfrm>
        </p:spPr>
        <p:txBody>
          <a:bodyPr/>
          <a:lstStyle>
            <a:lvl1pPr>
              <a:defRPr sz="1800"/>
            </a:lvl1pPr>
            <a:lvl5pPr marL="841248" indent="0">
              <a:buNone/>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p:txBody>
      </p:sp>
      <p:sp>
        <p:nvSpPr>
          <p:cNvPr id="25" name="Subhead1">
            <a:extLst>
              <a:ext uri="{FF2B5EF4-FFF2-40B4-BE49-F238E27FC236}">
                <a16:creationId xmlns:a16="http://schemas.microsoft.com/office/drawing/2014/main" id="{FDB5A404-7DB4-4DC7-BC95-8CD6FF0A3B57}"/>
              </a:ext>
            </a:extLst>
          </p:cNvPr>
          <p:cNvSpPr>
            <a:spLocks noGrp="1"/>
          </p:cNvSpPr>
          <p:nvPr>
            <p:ph type="body" sz="quarter" idx="21" hasCustomPrompt="1"/>
          </p:nvPr>
        </p:nvSpPr>
        <p:spPr>
          <a:xfrm>
            <a:off x="676656" y="333648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Tree>
    <p:extLst>
      <p:ext uri="{BB962C8B-B14F-4D97-AF65-F5344CB8AC3E}">
        <p14:creationId xmlns:p14="http://schemas.microsoft.com/office/powerpoint/2010/main" val="252551281"/>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Collins Content: Text Quad">
    <p:spTree>
      <p:nvGrpSpPr>
        <p:cNvPr id="1" name=""/>
        <p:cNvGrpSpPr/>
        <p:nvPr/>
      </p:nvGrpSpPr>
      <p:grpSpPr>
        <a:xfrm>
          <a:off x="0" y="0"/>
          <a:ext cx="0" cy="0"/>
          <a:chOff x="0" y="0"/>
          <a:chExt cx="0" cy="0"/>
        </a:xfrm>
      </p:grpSpPr>
      <p:sp>
        <p:nvSpPr>
          <p:cNvPr id="23"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7B211ECA-3F10-BA4A-9903-326CCDC73263}"/>
              </a:ext>
            </a:extLst>
          </p:cNvPr>
          <p:cNvSpPr>
            <a:spLocks noGrp="1"/>
          </p:cNvSpPr>
          <p:nvPr>
            <p:ph type="ftr" sz="quarter" idx="2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21"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4" name="Body4">
            <a:extLst>
              <a:ext uri="{FF2B5EF4-FFF2-40B4-BE49-F238E27FC236}">
                <a16:creationId xmlns:a16="http://schemas.microsoft.com/office/drawing/2014/main" id="{EFBD0647-D555-4E72-BD0C-D7C31163DE48}"/>
              </a:ext>
            </a:extLst>
          </p:cNvPr>
          <p:cNvSpPr>
            <a:spLocks noGrp="1"/>
          </p:cNvSpPr>
          <p:nvPr>
            <p:ph sz="quarter" idx="33" hasCustomPrompt="1"/>
          </p:nvPr>
        </p:nvSpPr>
        <p:spPr>
          <a:xfrm>
            <a:off x="6285898" y="4082550"/>
            <a:ext cx="5257800" cy="1458912"/>
          </a:xfrm>
        </p:spPr>
        <p:txBody>
          <a:bodyPr/>
          <a:lstStyle>
            <a:lvl1pPr marL="0" indent="0">
              <a:buNone/>
              <a:defRPr sz="1800"/>
            </a:lvl1pPr>
            <a:lvl2pPr>
              <a:defRPr sz="1800"/>
            </a:lvl2pPr>
            <a:lvl3pPr>
              <a:defRPr sz="1800"/>
            </a:lvl3pPr>
            <a:lvl4pPr>
              <a:defRPr sz="1800"/>
            </a:lvl4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8" name="Subhead4"/>
          <p:cNvSpPr>
            <a:spLocks noGrp="1"/>
          </p:cNvSpPr>
          <p:nvPr>
            <p:ph type="body" sz="quarter" idx="27" hasCustomPrompt="1"/>
          </p:nvPr>
        </p:nvSpPr>
        <p:spPr>
          <a:xfrm>
            <a:off x="6292877" y="3723131"/>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8" name="Body3">
            <a:extLst>
              <a:ext uri="{FF2B5EF4-FFF2-40B4-BE49-F238E27FC236}">
                <a16:creationId xmlns:a16="http://schemas.microsoft.com/office/drawing/2014/main" id="{79CF69DF-EFCD-41D8-9992-E41641193E44}"/>
              </a:ext>
            </a:extLst>
          </p:cNvPr>
          <p:cNvSpPr>
            <a:spLocks noGrp="1"/>
          </p:cNvSpPr>
          <p:nvPr>
            <p:ph sz="quarter" idx="31" hasCustomPrompt="1"/>
          </p:nvPr>
        </p:nvSpPr>
        <p:spPr>
          <a:xfrm>
            <a:off x="710241" y="4078027"/>
            <a:ext cx="5240337" cy="1436687"/>
          </a:xfrm>
        </p:spPr>
        <p:txBody>
          <a:bodyPr/>
          <a:lstStyle>
            <a:lvl1pPr>
              <a:defRPr sz="1800"/>
            </a:lvl1pPr>
            <a:lvl2pPr>
              <a:defRPr sz="1800"/>
            </a:lvl2pPr>
            <a:lvl3pPr>
              <a:defRPr sz="1800"/>
            </a:lvl3pPr>
            <a:lvl4pPr>
              <a:defRPr sz="1800"/>
            </a:lvl4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7" name="Subhead3"/>
          <p:cNvSpPr>
            <a:spLocks noGrp="1"/>
          </p:cNvSpPr>
          <p:nvPr>
            <p:ph type="body" sz="quarter" idx="26" hasCustomPrompt="1"/>
          </p:nvPr>
        </p:nvSpPr>
        <p:spPr>
          <a:xfrm>
            <a:off x="715878"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6" name="Body2">
            <a:extLst>
              <a:ext uri="{FF2B5EF4-FFF2-40B4-BE49-F238E27FC236}">
                <a16:creationId xmlns:a16="http://schemas.microsoft.com/office/drawing/2014/main" id="{1C66D4F2-6ADE-445D-B545-81F44821A597}"/>
              </a:ext>
            </a:extLst>
          </p:cNvPr>
          <p:cNvSpPr>
            <a:spLocks noGrp="1"/>
          </p:cNvSpPr>
          <p:nvPr>
            <p:ph sz="quarter" idx="30" hasCustomPrompt="1"/>
          </p:nvPr>
        </p:nvSpPr>
        <p:spPr>
          <a:xfrm>
            <a:off x="6253163" y="1925638"/>
            <a:ext cx="5262562" cy="1422400"/>
          </a:xfrm>
        </p:spPr>
        <p:txBody>
          <a:bodyPr/>
          <a:lstStyle>
            <a:lvl1pPr>
              <a:defRPr sz="1800"/>
            </a:lvl1pPr>
            <a:lvl2pPr>
              <a:defRPr sz="1800"/>
            </a:lvl2pPr>
            <a:lvl3pPr>
              <a:defRPr sz="1800"/>
            </a:lvl3pPr>
            <a:lvl4pPr>
              <a:defRPr sz="1800"/>
            </a:lvl4pPr>
            <a:lvl5pPr marL="841248" indent="0">
              <a:buNone/>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6" name="Subhead2"/>
          <p:cNvSpPr>
            <a:spLocks noGrp="1"/>
          </p:cNvSpPr>
          <p:nvPr>
            <p:ph type="body" sz="quarter" idx="25" hasCustomPrompt="1"/>
          </p:nvPr>
        </p:nvSpPr>
        <p:spPr>
          <a:xfrm>
            <a:off x="6249401"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4" name="Body1">
            <a:extLst>
              <a:ext uri="{FF2B5EF4-FFF2-40B4-BE49-F238E27FC236}">
                <a16:creationId xmlns:a16="http://schemas.microsoft.com/office/drawing/2014/main" id="{13618A41-9235-4A1A-90C9-9833408FBD69}"/>
              </a:ext>
            </a:extLst>
          </p:cNvPr>
          <p:cNvSpPr>
            <a:spLocks noGrp="1"/>
          </p:cNvSpPr>
          <p:nvPr>
            <p:ph sz="quarter" idx="29" hasCustomPrompt="1"/>
          </p:nvPr>
        </p:nvSpPr>
        <p:spPr>
          <a:xfrm>
            <a:off x="695325" y="1922463"/>
            <a:ext cx="5240338" cy="1425575"/>
          </a:xfrm>
        </p:spPr>
        <p:txBody>
          <a:bodyPr/>
          <a:lstStyle>
            <a:lvl1pPr>
              <a:defRPr sz="1800"/>
            </a:lvl1pPr>
            <a:lvl2pPr>
              <a:defRPr sz="1800"/>
            </a:lvl2pPr>
            <a:lvl3pPr>
              <a:defRPr sz="1800"/>
            </a:lvl3pPr>
            <a:lvl4pPr>
              <a:defRPr sz="1800"/>
            </a:lvl4pPr>
            <a:lvl5pPr marL="841248" indent="0">
              <a:buNone/>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5" name="Subhead1"/>
          <p:cNvSpPr>
            <a:spLocks noGrp="1"/>
          </p:cNvSpPr>
          <p:nvPr>
            <p:ph type="body" sz="quarter" idx="21" hasCustomPrompt="1"/>
          </p:nvPr>
        </p:nvSpPr>
        <p:spPr>
          <a:xfrm>
            <a:off x="691820"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1646081744"/>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Collins content: Blank">
    <p:spTree>
      <p:nvGrpSpPr>
        <p:cNvPr id="1" name=""/>
        <p:cNvGrpSpPr/>
        <p:nvPr/>
      </p:nvGrpSpPr>
      <p:grpSpPr>
        <a:xfrm>
          <a:off x="0" y="0"/>
          <a:ext cx="0" cy="0"/>
          <a:chOff x="0" y="0"/>
          <a:chExt cx="0" cy="0"/>
        </a:xfrm>
      </p:grpSpPr>
      <p:sp>
        <p:nvSpPr>
          <p:cNvPr id="9"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2067"/>
            <a:ext cx="10811256" cy="676653"/>
          </a:xfrm>
          <a:prstGeom prst="rect">
            <a:avLst/>
          </a:prstGeom>
        </p:spPr>
        <p:txBody>
          <a:bodyPr/>
          <a:lstStyle>
            <a:lvl1pPr>
              <a:lnSpc>
                <a:spcPct val="80000"/>
              </a:lnSpc>
              <a:defRPr sz="3200" b="0"/>
            </a:lvl1pPr>
          </a:lstStyle>
          <a:p>
            <a:r>
              <a:rPr lang="en-US" dirty="0"/>
              <a:t>Title. 32 pt. black. UPPER case. Two lines max.</a:t>
            </a:r>
          </a:p>
        </p:txBody>
      </p:sp>
      <p:sp>
        <p:nvSpPr>
          <p:cNvPr id="5"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347B83AA-E296-8443-804F-04A7F4C1160F}"/>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55434854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Collins Custom Cov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12ADE7C4-C9D6-C340-9D31-184D270C18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1FC6B38C-CF04-4F32-B219-4E6897BCEC78}"/>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10" name="Date Placeholder 4">
            <a:extLst>
              <a:ext uri="{FF2B5EF4-FFF2-40B4-BE49-F238E27FC236}">
                <a16:creationId xmlns:a16="http://schemas.microsoft.com/office/drawing/2014/main" id="{7730A198-60A6-4683-BC20-14E81E22C99D}"/>
              </a:ext>
            </a:extLst>
          </p:cNvPr>
          <p:cNvSpPr>
            <a:spLocks noGrp="1"/>
          </p:cNvSpPr>
          <p:nvPr>
            <p:ph type="dt" sz="half" idx="12"/>
          </p:nvPr>
        </p:nvSpPr>
        <p:spPr>
          <a:xfrm>
            <a:off x="9051010" y="6402278"/>
            <a:ext cx="2312452" cy="216670"/>
          </a:xfrm>
          <a:noFill/>
        </p:spPr>
        <p:txBody>
          <a:bodyPr vert="horz" lIns="0" tIns="0" rIns="0" bIns="0" rtlCol="0">
            <a:noAutofit/>
          </a:bodyPr>
          <a:lstStyle>
            <a:lvl1pPr algn="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685491216"/>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1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907742132"/>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2066358351"/>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1897269984"/>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2008402"/>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013188887"/>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1" y="1535114"/>
            <a:ext cx="5386917"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4" name="Content Placeholder 3"/>
          <p:cNvSpPr>
            <a:spLocks noGrp="1"/>
          </p:cNvSpPr>
          <p:nvPr>
            <p:ph sz="half" idx="2"/>
          </p:nvPr>
        </p:nvSpPr>
        <p:spPr>
          <a:xfrm>
            <a:off x="609601" y="2174875"/>
            <a:ext cx="5386917" cy="3013971"/>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6" name="Content Placeholder 5"/>
          <p:cNvSpPr>
            <a:spLocks noGrp="1"/>
          </p:cNvSpPr>
          <p:nvPr>
            <p:ph sz="quarter" idx="4"/>
          </p:nvPr>
        </p:nvSpPr>
        <p:spPr>
          <a:xfrm>
            <a:off x="6193368" y="2174874"/>
            <a:ext cx="5389033" cy="2921349"/>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xfrm>
            <a:off x="4049037" y="5466718"/>
            <a:ext cx="3860800" cy="244475"/>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296422110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997620151"/>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894522645"/>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100362725"/>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284648162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24456155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1475700"/>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3956454054"/>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llins Content: 1 column/photo">
    <p:bg>
      <p:bgRef idx="1001">
        <a:schemeClr val="bg1"/>
      </p:bgRef>
    </p:bg>
    <p:spTree>
      <p:nvGrpSpPr>
        <p:cNvPr id="1" name=""/>
        <p:cNvGrpSpPr/>
        <p:nvPr/>
      </p:nvGrpSpPr>
      <p:grpSpPr>
        <a:xfrm>
          <a:off x="0" y="0"/>
          <a:ext cx="0" cy="0"/>
          <a:chOff x="0" y="0"/>
          <a:chExt cx="0" cy="0"/>
        </a:xfrm>
      </p:grpSpPr>
      <p:sp>
        <p:nvSpPr>
          <p:cNvPr id="31" name="Body 1"/>
          <p:cNvSpPr>
            <a:spLocks noGrp="1"/>
          </p:cNvSpPr>
          <p:nvPr>
            <p:ph type="body" sz="quarter" idx="13" hasCustomPrompt="1"/>
          </p:nvPr>
        </p:nvSpPr>
        <p:spPr>
          <a:xfrm>
            <a:off x="696433" y="2251609"/>
            <a:ext cx="3418367" cy="3539591"/>
          </a:xfrm>
          <a:noFill/>
        </p:spPr>
        <p:txBody>
          <a:bodyPr/>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7" hasCustomPrompt="1"/>
          </p:nvPr>
        </p:nvSpPr>
        <p:spPr>
          <a:xfrm>
            <a:off x="4381500" y="1572733"/>
            <a:ext cx="7124700" cy="4218468"/>
          </a:xfrm>
          <a:solidFill>
            <a:schemeClr val="bg2"/>
          </a:solidFill>
        </p:spPr>
        <p:txBody>
          <a:bodyPr tIns="1188720"/>
          <a:lstStyle>
            <a:lvl1pPr marL="0" indent="0" algn="ctr">
              <a:buNone/>
              <a:defRPr/>
            </a:lvl1pPr>
          </a:lstStyle>
          <a:p>
            <a:r>
              <a:rPr lang="en-US" dirty="0"/>
              <a:t>Click to insert photo</a:t>
            </a:r>
          </a:p>
        </p:txBody>
      </p:sp>
      <p:sp>
        <p:nvSpPr>
          <p:cNvPr id="1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9" name="Text Placeholder 2"/>
          <p:cNvSpPr>
            <a:spLocks noGrp="1"/>
          </p:cNvSpPr>
          <p:nvPr>
            <p:ph type="body" sz="quarter" idx="21" hasCustomPrompt="1"/>
          </p:nvPr>
        </p:nvSpPr>
        <p:spPr>
          <a:xfrm>
            <a:off x="695325" y="1572733"/>
            <a:ext cx="3419475" cy="590931"/>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0"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spc="300"/>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4746497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2008402"/>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737876558"/>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3"/>
            <a:ext cx="5247571" cy="3723167"/>
          </a:xfrm>
          <a:noFill/>
        </p:spPr>
        <p:txBody>
          <a:bodyPr rIns="182880"/>
          <a:lstStyle>
            <a:lvl1pPr marL="219456"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3" y="2068032"/>
            <a:ext cx="5247167" cy="3723167"/>
          </a:xfrm>
          <a:noFill/>
        </p:spPr>
        <p:txBody>
          <a:bodyPr rIns="182880"/>
          <a:lstStyle>
            <a:lvl1pPr marL="219456"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2503567905"/>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3"/>
            <a:ext cx="5247571" cy="3723167"/>
          </a:xfrm>
          <a:noFill/>
        </p:spPr>
        <p:txBody>
          <a:bodyPr rIns="182880"/>
          <a:lstStyle>
            <a:lvl1pPr marL="219456"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3" y="2068032"/>
            <a:ext cx="5247167" cy="3723167"/>
          </a:xfrm>
          <a:noFill/>
        </p:spPr>
        <p:txBody>
          <a:bodyPr rIns="182880"/>
          <a:lstStyle>
            <a:lvl1pPr marL="219456"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145855775"/>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llins Content: 3 column">
    <p:spTree>
      <p:nvGrpSpPr>
        <p:cNvPr id="1" name=""/>
        <p:cNvGrpSpPr/>
        <p:nvPr/>
      </p:nvGrpSpPr>
      <p:grpSpPr>
        <a:xfrm>
          <a:off x="0" y="0"/>
          <a:ext cx="0" cy="0"/>
          <a:chOff x="0" y="0"/>
          <a:chExt cx="0" cy="0"/>
        </a:xfrm>
      </p:grpSpPr>
      <p:sp>
        <p:nvSpPr>
          <p:cNvPr id="13" name="Body 3"/>
          <p:cNvSpPr>
            <a:spLocks noGrp="1"/>
          </p:cNvSpPr>
          <p:nvPr>
            <p:ph type="body" sz="quarter" idx="18" hasCustomPrompt="1"/>
          </p:nvPr>
        </p:nvSpPr>
        <p:spPr>
          <a:xfrm>
            <a:off x="8092684" y="2258533"/>
            <a:ext cx="3413515"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ody 2"/>
          <p:cNvSpPr>
            <a:spLocks noGrp="1"/>
          </p:cNvSpPr>
          <p:nvPr>
            <p:ph type="body" sz="quarter" idx="17" hasCustomPrompt="1"/>
          </p:nvPr>
        </p:nvSpPr>
        <p:spPr>
          <a:xfrm>
            <a:off x="4396984" y="2258533"/>
            <a:ext cx="3413516"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2" y="2258533"/>
            <a:ext cx="3418367"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4" name="Text Placeholder 2"/>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ext Placeholder 2"/>
          <p:cNvSpPr>
            <a:spLocks noGrp="1"/>
          </p:cNvSpPr>
          <p:nvPr>
            <p:ph type="body" sz="quarter" idx="23" hasCustomPrompt="1"/>
          </p:nvPr>
        </p:nvSpPr>
        <p:spPr>
          <a:xfrm>
            <a:off x="4364234"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4" hasCustomPrompt="1"/>
          </p:nvPr>
        </p:nvSpPr>
        <p:spPr>
          <a:xfrm>
            <a:off x="8077200"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916185588"/>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llins Content: 3 columns/photos">
    <p:spTree>
      <p:nvGrpSpPr>
        <p:cNvPr id="1" name=""/>
        <p:cNvGrpSpPr/>
        <p:nvPr/>
      </p:nvGrpSpPr>
      <p:grpSpPr>
        <a:xfrm>
          <a:off x="0" y="0"/>
          <a:ext cx="0" cy="0"/>
          <a:chOff x="0" y="0"/>
          <a:chExt cx="0" cy="0"/>
        </a:xfrm>
      </p:grpSpPr>
      <p:sp>
        <p:nvSpPr>
          <p:cNvPr id="3" name="Picture Placeholder 2"/>
          <p:cNvSpPr>
            <a:spLocks noGrp="1"/>
          </p:cNvSpPr>
          <p:nvPr>
            <p:ph type="pic" sz="quarter" idx="22" hasCustomPrompt="1"/>
          </p:nvPr>
        </p:nvSpPr>
        <p:spPr>
          <a:xfrm>
            <a:off x="685800" y="1312494"/>
            <a:ext cx="3429000" cy="1829708"/>
          </a:xfrm>
          <a:solidFill>
            <a:schemeClr val="bg2"/>
          </a:solidFill>
        </p:spPr>
        <p:txBody>
          <a:bodyPr tIns="365760"/>
          <a:lstStyle>
            <a:lvl1pPr marL="0" indent="0" algn="ctr">
              <a:buNone/>
              <a:defRPr sz="1800"/>
            </a:lvl1pPr>
          </a:lstStyle>
          <a:p>
            <a:r>
              <a:rPr lang="en-US" dirty="0"/>
              <a:t>Click to insert photo</a:t>
            </a:r>
          </a:p>
        </p:txBody>
      </p:sp>
      <p:sp>
        <p:nvSpPr>
          <p:cNvPr id="20" name="Picture Placeholder 2"/>
          <p:cNvSpPr>
            <a:spLocks noGrp="1"/>
          </p:cNvSpPr>
          <p:nvPr>
            <p:ph type="pic" sz="quarter" idx="23" hasCustomPrompt="1"/>
          </p:nvPr>
        </p:nvSpPr>
        <p:spPr>
          <a:xfrm>
            <a:off x="4381500" y="1312493"/>
            <a:ext cx="3429000" cy="1829709"/>
          </a:xfrm>
          <a:solidFill>
            <a:schemeClr val="bg2"/>
          </a:solidFill>
        </p:spPr>
        <p:txBody>
          <a:bodyPr tIns="365760"/>
          <a:lstStyle>
            <a:lvl1pPr marL="0" indent="0" algn="ctr">
              <a:buNone/>
              <a:defRPr sz="1800" baseline="0"/>
            </a:lvl1pPr>
          </a:lstStyle>
          <a:p>
            <a:r>
              <a:rPr lang="en-US" dirty="0"/>
              <a:t>Click to insert photo</a:t>
            </a:r>
          </a:p>
        </p:txBody>
      </p:sp>
      <p:sp>
        <p:nvSpPr>
          <p:cNvPr id="21" name="Picture Placeholder 2"/>
          <p:cNvSpPr>
            <a:spLocks noGrp="1"/>
          </p:cNvSpPr>
          <p:nvPr>
            <p:ph type="pic" sz="quarter" idx="24" hasCustomPrompt="1"/>
          </p:nvPr>
        </p:nvSpPr>
        <p:spPr>
          <a:xfrm>
            <a:off x="8077200" y="1312494"/>
            <a:ext cx="3429000" cy="1829708"/>
          </a:xfrm>
          <a:solidFill>
            <a:schemeClr val="bg2"/>
          </a:solidFill>
        </p:spPr>
        <p:txBody>
          <a:bodyPr tIns="365760"/>
          <a:lstStyle>
            <a:lvl1pPr marL="0" indent="0" algn="ctr">
              <a:buNone/>
              <a:defRPr sz="1800" baseline="0"/>
            </a:lvl1pPr>
          </a:lstStyle>
          <a:p>
            <a:r>
              <a:rPr lang="en-US" dirty="0"/>
              <a:t>Click to insert photo</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43" name="Body 3"/>
          <p:cNvSpPr>
            <a:spLocks noGrp="1"/>
          </p:cNvSpPr>
          <p:nvPr>
            <p:ph type="body" sz="quarter" idx="18" hasCustomPrompt="1"/>
          </p:nvPr>
        </p:nvSpPr>
        <p:spPr>
          <a:xfrm>
            <a:off x="8077200" y="3897989"/>
            <a:ext cx="3429000" cy="1829708"/>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Body 2"/>
          <p:cNvSpPr>
            <a:spLocks noGrp="1"/>
          </p:cNvSpPr>
          <p:nvPr>
            <p:ph type="body" sz="quarter" idx="17" hasCustomPrompt="1"/>
          </p:nvPr>
        </p:nvSpPr>
        <p:spPr>
          <a:xfrm>
            <a:off x="4381500" y="3897989"/>
            <a:ext cx="3429000" cy="1829709"/>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Body 1"/>
          <p:cNvSpPr>
            <a:spLocks noGrp="1"/>
          </p:cNvSpPr>
          <p:nvPr>
            <p:ph type="body" sz="quarter" idx="13" hasCustomPrompt="1"/>
          </p:nvPr>
        </p:nvSpPr>
        <p:spPr>
          <a:xfrm>
            <a:off x="696433" y="3897990"/>
            <a:ext cx="3418367" cy="1830552"/>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9" name="Text Placeholder 2"/>
          <p:cNvSpPr>
            <a:spLocks noGrp="1"/>
          </p:cNvSpPr>
          <p:nvPr>
            <p:ph type="body" sz="quarter" idx="21" hasCustomPrompt="1"/>
          </p:nvPr>
        </p:nvSpPr>
        <p:spPr>
          <a:xfrm>
            <a:off x="695325"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0" name="Text Placeholder 2"/>
          <p:cNvSpPr>
            <a:spLocks noGrp="1"/>
          </p:cNvSpPr>
          <p:nvPr>
            <p:ph type="body" sz="quarter" idx="26" hasCustomPrompt="1"/>
          </p:nvPr>
        </p:nvSpPr>
        <p:spPr>
          <a:xfrm>
            <a:off x="4364234"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1" name="Text Placeholder 2"/>
          <p:cNvSpPr>
            <a:spLocks noGrp="1"/>
          </p:cNvSpPr>
          <p:nvPr>
            <p:ph type="body" sz="quarter" idx="27" hasCustomPrompt="1"/>
          </p:nvPr>
        </p:nvSpPr>
        <p:spPr>
          <a:xfrm>
            <a:off x="8077200"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22"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366786206"/>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llins Content: Text Quad">
    <p:spTree>
      <p:nvGrpSpPr>
        <p:cNvPr id="1" name=""/>
        <p:cNvGrpSpPr/>
        <p:nvPr/>
      </p:nvGrpSpPr>
      <p:grpSpPr>
        <a:xfrm>
          <a:off x="0" y="0"/>
          <a:ext cx="0" cy="0"/>
          <a:chOff x="0" y="0"/>
          <a:chExt cx="0" cy="0"/>
        </a:xfrm>
      </p:grpSpPr>
      <p:sp>
        <p:nvSpPr>
          <p:cNvPr id="14" name="Body 4"/>
          <p:cNvSpPr>
            <a:spLocks noGrp="1"/>
          </p:cNvSpPr>
          <p:nvPr>
            <p:ph type="body" sz="quarter" idx="19" hasCustomPrompt="1"/>
          </p:nvPr>
        </p:nvSpPr>
        <p:spPr>
          <a:xfrm>
            <a:off x="6260431" y="4060048"/>
            <a:ext cx="5257801"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2" name="Body 3"/>
          <p:cNvSpPr>
            <a:spLocks noGrp="1"/>
          </p:cNvSpPr>
          <p:nvPr>
            <p:ph type="body" sz="quarter" idx="17" hasCustomPrompt="1"/>
          </p:nvPr>
        </p:nvSpPr>
        <p:spPr>
          <a:xfrm>
            <a:off x="6260431" y="1922165"/>
            <a:ext cx="5257800"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3" name="Body 2"/>
          <p:cNvSpPr>
            <a:spLocks noGrp="1"/>
          </p:cNvSpPr>
          <p:nvPr>
            <p:ph type="body" sz="quarter" idx="18" hasCustomPrompt="1"/>
          </p:nvPr>
        </p:nvSpPr>
        <p:spPr>
          <a:xfrm>
            <a:off x="697832" y="4060048"/>
            <a:ext cx="5241850"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31" name="Body 1"/>
          <p:cNvSpPr>
            <a:spLocks noGrp="1"/>
          </p:cNvSpPr>
          <p:nvPr>
            <p:ph type="body" sz="quarter" idx="13" hasCustomPrompt="1"/>
          </p:nvPr>
        </p:nvSpPr>
        <p:spPr>
          <a:xfrm>
            <a:off x="698345" y="1922165"/>
            <a:ext cx="5240823"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23"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5" name="Text Placeholder 2"/>
          <p:cNvSpPr>
            <a:spLocks noGrp="1"/>
          </p:cNvSpPr>
          <p:nvPr>
            <p:ph type="body" sz="quarter" idx="21" hasCustomPrompt="1"/>
          </p:nvPr>
        </p:nvSpPr>
        <p:spPr>
          <a:xfrm>
            <a:off x="6271500"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5" hasCustomPrompt="1"/>
          </p:nvPr>
        </p:nvSpPr>
        <p:spPr>
          <a:xfrm>
            <a:off x="699757"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ext Placeholder 2"/>
          <p:cNvSpPr>
            <a:spLocks noGrp="1"/>
          </p:cNvSpPr>
          <p:nvPr>
            <p:ph type="body" sz="quarter" idx="26" hasCustomPrompt="1"/>
          </p:nvPr>
        </p:nvSpPr>
        <p:spPr>
          <a:xfrm>
            <a:off x="6271500"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8" name="Text Placeholder 2"/>
          <p:cNvSpPr>
            <a:spLocks noGrp="1"/>
          </p:cNvSpPr>
          <p:nvPr>
            <p:ph type="body" sz="quarter" idx="27" hasCustomPrompt="1"/>
          </p:nvPr>
        </p:nvSpPr>
        <p:spPr>
          <a:xfrm>
            <a:off x="699757"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21"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Tree>
    <p:extLst>
      <p:ext uri="{BB962C8B-B14F-4D97-AF65-F5344CB8AC3E}">
        <p14:creationId xmlns:p14="http://schemas.microsoft.com/office/powerpoint/2010/main" val="85734972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4591400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236216893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23_Custom Layout">
    <p:spTree>
      <p:nvGrpSpPr>
        <p:cNvPr id="1" name=""/>
        <p:cNvGrpSpPr/>
        <p:nvPr/>
      </p:nvGrpSpPr>
      <p:grpSpPr>
        <a:xfrm>
          <a:off x="0" y="0"/>
          <a:ext cx="0" cy="0"/>
          <a:chOff x="0" y="0"/>
          <a:chExt cx="0" cy="0"/>
        </a:xfrm>
      </p:grpSpPr>
      <p:pic>
        <p:nvPicPr>
          <p:cNvPr id="9" name="Picture 8"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44043"/>
            <a:ext cx="4301067" cy="2159000"/>
          </a:xfrm>
          <a:prstGeom prst="rect">
            <a:avLst/>
          </a:prstGeom>
        </p:spPr>
      </p:pic>
    </p:spTree>
    <p:extLst>
      <p:ext uri="{BB962C8B-B14F-4D97-AF65-F5344CB8AC3E}">
        <p14:creationId xmlns:p14="http://schemas.microsoft.com/office/powerpoint/2010/main" val="425601809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5" name="TextBox 4"/>
          <p:cNvSpPr txBox="1"/>
          <p:nvPr userDrawn="1"/>
        </p:nvSpPr>
        <p:spPr>
          <a:xfrm>
            <a:off x="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13" name="Title 12"/>
          <p:cNvSpPr>
            <a:spLocks noGrp="1"/>
          </p:cNvSpPr>
          <p:nvPr>
            <p:ph type="title" hasCustomPrompt="1"/>
          </p:nvPr>
        </p:nvSpPr>
        <p:spPr>
          <a:xfrm>
            <a:off x="0" y="850518"/>
            <a:ext cx="12192000" cy="952579"/>
          </a:xfrm>
          <a:prstGeom prst="rect">
            <a:avLst/>
          </a:prstGeom>
          <a:ln>
            <a:noFill/>
          </a:ln>
        </p:spPr>
        <p:txBody>
          <a:bodyPr vert="horz"/>
          <a:lstStyle>
            <a:lvl1pPr>
              <a:defRPr sz="5900" b="1">
                <a:solidFill>
                  <a:srgbClr val="14487F"/>
                </a:solidFill>
                <a:latin typeface="Times New Roman"/>
                <a:cs typeface="Times New Roman"/>
              </a:defRPr>
            </a:lvl1pPr>
          </a:lstStyle>
          <a:p>
            <a:r>
              <a:rPr lang="en-US" dirty="0"/>
              <a:t>Presentation Title</a:t>
            </a:r>
          </a:p>
        </p:txBody>
      </p:sp>
      <p:sp>
        <p:nvSpPr>
          <p:cNvPr id="15" name="Text Placeholder 14"/>
          <p:cNvSpPr>
            <a:spLocks noGrp="1"/>
          </p:cNvSpPr>
          <p:nvPr>
            <p:ph type="body" sz="quarter" idx="10" hasCustomPrompt="1"/>
          </p:nvPr>
        </p:nvSpPr>
        <p:spPr>
          <a:xfrm>
            <a:off x="0" y="2155124"/>
            <a:ext cx="12192000" cy="2471737"/>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38244116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8_Custom Layout">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7688" y="0"/>
            <a:ext cx="12373808" cy="6858000"/>
          </a:xfrm>
          <a:prstGeom prst="rect">
            <a:avLst/>
          </a:prstGeom>
        </p:spPr>
      </p:pic>
      <p:sp>
        <p:nvSpPr>
          <p:cNvPr id="4" name="TextBox 3"/>
          <p:cNvSpPr txBox="1"/>
          <p:nvPr userDrawn="1"/>
        </p:nvSpPr>
        <p:spPr>
          <a:xfrm>
            <a:off x="0" y="1044870"/>
            <a:ext cx="12192000" cy="4545617"/>
          </a:xfrm>
          <a:prstGeom prst="rect">
            <a:avLst/>
          </a:prstGeom>
          <a:noFill/>
        </p:spPr>
        <p:txBody>
          <a:bodyPr wrap="square" lIns="82056" tIns="41028" rIns="82056" bIns="41028" rtlCol="0">
            <a:spAutoFit/>
          </a:bodyPr>
          <a:lstStyle/>
          <a:p>
            <a:pPr marL="0" marR="0" indent="0" algn="ctr" defTabSz="457134" rtl="0" eaLnBrk="1" fontAlgn="auto" latinLnBrk="0" hangingPunct="1">
              <a:lnSpc>
                <a:spcPct val="100000"/>
              </a:lnSpc>
              <a:spcBef>
                <a:spcPts val="0"/>
              </a:spcBef>
              <a:spcAft>
                <a:spcPts val="0"/>
              </a:spcAft>
              <a:buClrTx/>
              <a:buSzTx/>
              <a:buFontTx/>
              <a:buNone/>
              <a:tabLst/>
              <a:defRPr/>
            </a:pPr>
            <a:r>
              <a:rPr lang="en-US" sz="5800" b="1" i="0" dirty="0">
                <a:solidFill>
                  <a:schemeClr val="bg1"/>
                </a:solidFill>
                <a:latin typeface="Times New Roman"/>
                <a:cs typeface="Times New Roman"/>
              </a:rPr>
              <a:t>What is Public Health?</a:t>
            </a:r>
            <a:br>
              <a:rPr lang="en-US" sz="5800" b="1" i="0" dirty="0">
                <a:solidFill>
                  <a:schemeClr val="bg1"/>
                </a:solidFill>
                <a:latin typeface="Times New Roman"/>
                <a:cs typeface="Times New Roman"/>
              </a:rPr>
            </a:br>
            <a:br>
              <a:rPr lang="en-US" sz="5800" b="1" i="0" dirty="0">
                <a:solidFill>
                  <a:schemeClr val="bg1"/>
                </a:solidFill>
                <a:latin typeface="Times New Roman"/>
                <a:cs typeface="Times New Roman"/>
              </a:rPr>
            </a:br>
            <a:r>
              <a:rPr lang="en-US" sz="5800" b="0" i="0" dirty="0">
                <a:solidFill>
                  <a:schemeClr val="bg1"/>
                </a:solidFill>
                <a:latin typeface="Times New Roman"/>
                <a:cs typeface="Times New Roman"/>
              </a:rPr>
              <a:t>Protecting Health,</a:t>
            </a:r>
            <a:br>
              <a:rPr lang="en-US" sz="5800" b="0" i="0" dirty="0">
                <a:solidFill>
                  <a:schemeClr val="bg1"/>
                </a:solidFill>
                <a:latin typeface="Times New Roman"/>
                <a:cs typeface="Times New Roman"/>
              </a:rPr>
            </a:br>
            <a:r>
              <a:rPr lang="en-US" sz="5800" b="0" i="0" dirty="0">
                <a:solidFill>
                  <a:schemeClr val="bg1"/>
                </a:solidFill>
                <a:latin typeface="Times New Roman"/>
                <a:cs typeface="Times New Roman"/>
              </a:rPr>
              <a:t>Saving Lives—</a:t>
            </a:r>
            <a:br>
              <a:rPr lang="en-US" sz="5800" b="0" i="0" dirty="0">
                <a:solidFill>
                  <a:schemeClr val="bg1"/>
                </a:solidFill>
                <a:latin typeface="Times New Roman"/>
                <a:cs typeface="Times New Roman"/>
              </a:rPr>
            </a:br>
            <a:r>
              <a:rPr lang="en-US" sz="5800" b="0" i="1" dirty="0">
                <a:solidFill>
                  <a:schemeClr val="bg1"/>
                </a:solidFill>
                <a:latin typeface="Times New Roman"/>
                <a:cs typeface="Times New Roman"/>
              </a:rPr>
              <a:t>Millions at a Time</a:t>
            </a:r>
          </a:p>
        </p:txBody>
      </p:sp>
    </p:spTree>
    <p:extLst>
      <p:ext uri="{BB962C8B-B14F-4D97-AF65-F5344CB8AC3E}">
        <p14:creationId xmlns:p14="http://schemas.microsoft.com/office/powerpoint/2010/main" val="401762369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27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Presentation Outline</a:t>
            </a:r>
          </a:p>
        </p:txBody>
      </p:sp>
      <p:sp>
        <p:nvSpPr>
          <p:cNvPr id="7" name="Text Placeholder 7"/>
          <p:cNvSpPr>
            <a:spLocks noGrp="1"/>
          </p:cNvSpPr>
          <p:nvPr>
            <p:ph type="body" sz="quarter" idx="10" hasCustomPrompt="1"/>
          </p:nvPr>
        </p:nvSpPr>
        <p:spPr>
          <a:xfrm>
            <a:off x="635390" y="1226130"/>
            <a:ext cx="10371277" cy="4096328"/>
          </a:xfrm>
          <a:prstGeom prst="rect">
            <a:avLst/>
          </a:prstGeom>
        </p:spPr>
        <p:txBody>
          <a:bodyPr vert="horz"/>
          <a:lstStyle>
            <a:lvl1pPr marL="0" marR="0" indent="0" algn="l" defTabSz="457200" rtl="0" eaLnBrk="1" fontAlgn="auto" latinLnBrk="0" hangingPunct="1">
              <a:lnSpc>
                <a:spcPct val="80000"/>
              </a:lnSpc>
              <a:spcBef>
                <a:spcPct val="20000"/>
              </a:spcBef>
              <a:spcAft>
                <a:spcPts val="0"/>
              </a:spcAft>
              <a:buClrTx/>
              <a:buSzTx/>
              <a:buFont typeface="Arial"/>
              <a:buNone/>
              <a:tabLst/>
              <a:defRPr sz="2400" baseline="0">
                <a:solidFill>
                  <a:schemeClr val="tx1"/>
                </a:solidFill>
                <a:latin typeface="Arial"/>
                <a:cs typeface="Arial"/>
              </a:defRPr>
            </a:lvl1pPr>
          </a:lstStyle>
          <a:p>
            <a:pPr lvl="0"/>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lvl="0"/>
            <a:endParaRPr lang="en-US" dirty="0"/>
          </a:p>
          <a:p>
            <a:pPr lvl="0"/>
            <a:endParaRPr lang="en-US" dirty="0"/>
          </a:p>
        </p:txBody>
      </p:sp>
      <p:sp>
        <p:nvSpPr>
          <p:cNvPr id="4" name="TextBox 3"/>
          <p:cNvSpPr txBox="1"/>
          <p:nvPr userDrawn="1"/>
        </p:nvSpPr>
        <p:spPr>
          <a:xfrm>
            <a:off x="0" y="659122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grpSp>
        <p:nvGrpSpPr>
          <p:cNvPr id="5" name="Group 4"/>
          <p:cNvGrpSpPr/>
          <p:nvPr userDrawn="1"/>
        </p:nvGrpSpPr>
        <p:grpSpPr>
          <a:xfrm>
            <a:off x="0" y="6433849"/>
            <a:ext cx="12192000" cy="432292"/>
            <a:chOff x="0" y="6433849"/>
            <a:chExt cx="9144000" cy="432292"/>
          </a:xfrm>
        </p:grpSpPr>
        <p:pic>
          <p:nvPicPr>
            <p:cNvPr id="3" name="Picture 2"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2" name="TextBox 11"/>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280726865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28_Custom Layout">
    <p:spTree>
      <p:nvGrpSpPr>
        <p:cNvPr id="1" name=""/>
        <p:cNvGrpSpPr/>
        <p:nvPr/>
      </p:nvGrpSpPr>
      <p:grpSpPr>
        <a:xfrm>
          <a:off x="0" y="0"/>
          <a:ext cx="0" cy="0"/>
          <a:chOff x="0" y="0"/>
          <a:chExt cx="0" cy="0"/>
        </a:xfrm>
      </p:grpSpPr>
      <p:sp>
        <p:nvSpPr>
          <p:cNvPr id="4" name="TextBox 3"/>
          <p:cNvSpPr txBox="1"/>
          <p:nvPr userDrawn="1"/>
        </p:nvSpPr>
        <p:spPr>
          <a:xfrm>
            <a:off x="0" y="588704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chemeClr val="bg1"/>
                </a:solidFill>
                <a:latin typeface="Arial"/>
                <a:ea typeface="+mn-ea"/>
                <a:cs typeface="Arial"/>
              </a:rPr>
              <a:t>© 2014, Johns Hopkins University. All rights reserved</a:t>
            </a:r>
            <a:r>
              <a:rPr lang="en-US" sz="1050" b="0" i="0" u="none" strike="noStrike" kern="1200" baseline="30000" dirty="0">
                <a:solidFill>
                  <a:srgbClr val="FFFFFF"/>
                </a:solidFill>
                <a:latin typeface="Arial"/>
                <a:ea typeface="+mn-ea"/>
                <a:cs typeface="Arial"/>
              </a:rPr>
              <a:t>.</a:t>
            </a:r>
          </a:p>
        </p:txBody>
      </p:sp>
      <p:sp>
        <p:nvSpPr>
          <p:cNvPr id="7"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Slide Header</a:t>
            </a:r>
          </a:p>
        </p:txBody>
      </p:sp>
      <p:sp>
        <p:nvSpPr>
          <p:cNvPr id="9" name="Text Placeholder 7"/>
          <p:cNvSpPr>
            <a:spLocks noGrp="1"/>
          </p:cNvSpPr>
          <p:nvPr>
            <p:ph type="body" sz="quarter" idx="10" hasCustomPrompt="1"/>
          </p:nvPr>
        </p:nvSpPr>
        <p:spPr>
          <a:xfrm>
            <a:off x="635390" y="1226130"/>
            <a:ext cx="10371277" cy="4096328"/>
          </a:xfrm>
          <a:prstGeom prst="rect">
            <a:avLst/>
          </a:prstGeom>
        </p:spPr>
        <p:txBody>
          <a:bodyPr vert="horz"/>
          <a:lstStyle>
            <a:lvl1pPr marL="0" marR="0" indent="0" algn="l" defTabSz="457200" rtl="0" eaLnBrk="1" fontAlgn="auto" latinLnBrk="0" hangingPunct="1">
              <a:lnSpc>
                <a:spcPct val="80000"/>
              </a:lnSpc>
              <a:spcBef>
                <a:spcPct val="20000"/>
              </a:spcBef>
              <a:spcAft>
                <a:spcPts val="0"/>
              </a:spcAft>
              <a:buClrTx/>
              <a:buSzTx/>
              <a:buFont typeface="Arial"/>
              <a:buNone/>
              <a:tabLst/>
              <a:defRPr sz="2400" baseline="0">
                <a:solidFill>
                  <a:srgbClr val="000000"/>
                </a:solidFill>
                <a:latin typeface="Arial"/>
                <a:cs typeface="Arial"/>
              </a:defRPr>
            </a:lvl1pPr>
          </a:lstStyle>
          <a:p>
            <a:pPr lvl="0"/>
            <a:r>
              <a:rPr lang="en-US" dirty="0"/>
              <a:t>Subhead</a:t>
            </a:r>
          </a:p>
          <a:p>
            <a:pPr lvl="0"/>
            <a:endParaRPr lang="en-US" dirty="0"/>
          </a:p>
          <a:p>
            <a:pPr lvl="0"/>
            <a:r>
              <a:rPr lang="en-US" dirty="0"/>
              <a:t>Subhead</a:t>
            </a:r>
            <a:br>
              <a:rPr lang="en-US" dirty="0"/>
            </a:b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lvl="0"/>
            <a:endParaRPr lang="en-US" dirty="0"/>
          </a:p>
          <a:p>
            <a:pPr lvl="0"/>
            <a:endParaRPr lang="en-US" dirty="0"/>
          </a:p>
        </p:txBody>
      </p:sp>
      <p:sp>
        <p:nvSpPr>
          <p:cNvPr id="11" name="TextBox 10"/>
          <p:cNvSpPr txBox="1"/>
          <p:nvPr userDrawn="1"/>
        </p:nvSpPr>
        <p:spPr>
          <a:xfrm>
            <a:off x="0" y="659122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2" name="TextBox 11"/>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5" name="TextBox 14"/>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pic>
        <p:nvPicPr>
          <p:cNvPr id="10" name="Picture 9"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25708"/>
            <a:ext cx="12192000" cy="432292"/>
          </a:xfrm>
          <a:prstGeom prst="rect">
            <a:avLst/>
          </a:prstGeom>
        </p:spPr>
      </p:pic>
      <p:sp>
        <p:nvSpPr>
          <p:cNvPr id="13" name="TextBox 12"/>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6,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4" name="Group 13"/>
          <p:cNvGrpSpPr/>
          <p:nvPr userDrawn="1"/>
        </p:nvGrpSpPr>
        <p:grpSpPr>
          <a:xfrm>
            <a:off x="0" y="6433849"/>
            <a:ext cx="12192000" cy="432292"/>
            <a:chOff x="0" y="6433849"/>
            <a:chExt cx="9144000" cy="432292"/>
          </a:xfrm>
        </p:grpSpPr>
        <p:pic>
          <p:nvPicPr>
            <p:cNvPr id="16" name="Picture 15"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9" name="TextBox 18"/>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8889585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1475700"/>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4036693385"/>
      </p:ext>
    </p:extLst>
  </p:cSld>
  <p:clrMapOvr>
    <a:masterClrMapping/>
  </p:clrMapOvr>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9_Custom Layou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Slide Header</a:t>
            </a:r>
          </a:p>
        </p:txBody>
      </p:sp>
      <p:sp>
        <p:nvSpPr>
          <p:cNvPr id="9" name="Text Placeholder 7"/>
          <p:cNvSpPr>
            <a:spLocks noGrp="1"/>
          </p:cNvSpPr>
          <p:nvPr>
            <p:ph type="body" sz="quarter" idx="10" hasCustomPrompt="1"/>
          </p:nvPr>
        </p:nvSpPr>
        <p:spPr>
          <a:xfrm>
            <a:off x="635390" y="1226130"/>
            <a:ext cx="10371277" cy="4096328"/>
          </a:xfrm>
          <a:prstGeom prst="rect">
            <a:avLst/>
          </a:prstGeom>
        </p:spPr>
        <p:txBody>
          <a:bodyPr vert="horz"/>
          <a:lstStyle>
            <a:lvl1pPr marL="0" marR="0" indent="0" algn="l" defTabSz="457200" rtl="0" eaLnBrk="1" fontAlgn="auto" latinLnBrk="0" hangingPunct="1">
              <a:lnSpc>
                <a:spcPct val="80000"/>
              </a:lnSpc>
              <a:spcBef>
                <a:spcPct val="20000"/>
              </a:spcBef>
              <a:spcAft>
                <a:spcPts val="0"/>
              </a:spcAft>
              <a:buClrTx/>
              <a:buSzTx/>
              <a:buFont typeface="Arial"/>
              <a:buNone/>
              <a:tabLst/>
              <a:defRPr sz="2400" baseline="0">
                <a:solidFill>
                  <a:srgbClr val="000000"/>
                </a:solidFill>
                <a:latin typeface="Arial"/>
                <a:cs typeface="Arial"/>
              </a:defRPr>
            </a:lvl1pPr>
          </a:lstStyle>
          <a:p>
            <a:pPr lvl="0"/>
            <a:r>
              <a:rPr lang="en-US" dirty="0"/>
              <a:t>Subhead</a:t>
            </a:r>
          </a:p>
          <a:p>
            <a:pPr lvl="0"/>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Subhe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marL="0" marR="0" lvl="0" indent="0" algn="l" defTabSz="457200" rtl="0" eaLnBrk="1" fontAlgn="auto" latinLnBrk="0" hangingPunct="1">
              <a:lnSpc>
                <a:spcPct val="80000"/>
              </a:lnSpc>
              <a:spcBef>
                <a:spcPct val="20000"/>
              </a:spcBef>
              <a:spcAft>
                <a:spcPts val="0"/>
              </a:spcAft>
              <a:buClrTx/>
              <a:buSzTx/>
              <a:buFont typeface="Arial"/>
              <a:buNone/>
              <a:tabLst/>
              <a:defRPr/>
            </a:pPr>
            <a:r>
              <a:rPr lang="en-US" dirty="0"/>
              <a:t>• Magna </a:t>
            </a:r>
            <a:r>
              <a:rPr lang="en-US" dirty="0" err="1"/>
              <a:t>aliquam</a:t>
            </a:r>
            <a:r>
              <a:rPr lang="en-US" dirty="0"/>
              <a:t> </a:t>
            </a:r>
            <a:r>
              <a:rPr lang="en-US" dirty="0" err="1"/>
              <a:t>erat</a:t>
            </a:r>
            <a:r>
              <a:rPr lang="en-US" dirty="0"/>
              <a:t> </a:t>
            </a:r>
            <a:r>
              <a:rPr lang="en-US" dirty="0" err="1"/>
              <a:t>volupat</a:t>
            </a:r>
            <a:r>
              <a:rPr lang="en-US" dirty="0"/>
              <a:t> </a:t>
            </a:r>
            <a:r>
              <a:rPr lang="en-US" dirty="0" err="1"/>
              <a:t>wisi</a:t>
            </a:r>
            <a:r>
              <a:rPr lang="en-US" dirty="0"/>
              <a:t> ad</a:t>
            </a:r>
          </a:p>
          <a:p>
            <a:pPr lvl="0"/>
            <a:endParaRPr lang="en-US" dirty="0"/>
          </a:p>
          <a:p>
            <a:pPr lvl="0"/>
            <a:endParaRPr lang="en-US" dirty="0"/>
          </a:p>
        </p:txBody>
      </p:sp>
      <p:sp>
        <p:nvSpPr>
          <p:cNvPr id="13" name="TextBox 12"/>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pic>
        <p:nvPicPr>
          <p:cNvPr id="14" name="Picture 13"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25708"/>
            <a:ext cx="12192000" cy="432292"/>
          </a:xfrm>
          <a:prstGeom prst="rect">
            <a:avLst/>
          </a:prstGeom>
        </p:spPr>
      </p:pic>
      <p:sp>
        <p:nvSpPr>
          <p:cNvPr id="15" name="TextBox 14"/>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pic>
        <p:nvPicPr>
          <p:cNvPr id="7" name="Picture 6"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25708"/>
            <a:ext cx="12192000" cy="432292"/>
          </a:xfrm>
          <a:prstGeom prst="rect">
            <a:avLst/>
          </a:prstGeom>
        </p:spPr>
      </p:pic>
      <p:sp>
        <p:nvSpPr>
          <p:cNvPr id="10" name="TextBox 9"/>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6,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1" name="Group 10"/>
          <p:cNvGrpSpPr/>
          <p:nvPr userDrawn="1"/>
        </p:nvGrpSpPr>
        <p:grpSpPr>
          <a:xfrm>
            <a:off x="0" y="6433849"/>
            <a:ext cx="12192000" cy="432292"/>
            <a:chOff x="0" y="6433849"/>
            <a:chExt cx="9144000" cy="432292"/>
          </a:xfrm>
        </p:grpSpPr>
        <p:pic>
          <p:nvPicPr>
            <p:cNvPr id="12" name="Picture 11"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6" name="TextBox 15"/>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267820533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982767" y="2392008"/>
            <a:ext cx="11207116" cy="2234772"/>
          </a:xfrm>
          <a:prstGeom prst="rect">
            <a:avLst/>
          </a:prstGeom>
        </p:spPr>
        <p:txBody>
          <a:bodyPr vert="horz"/>
          <a:lstStyle>
            <a:lvl1pPr marL="0" indent="0">
              <a:buNone/>
              <a:defRPr sz="3600" b="1" i="0" baseline="0">
                <a:solidFill>
                  <a:schemeClr val="tx1"/>
                </a:solidFill>
                <a:latin typeface="Times New Roman"/>
                <a:cs typeface="Times New Roman"/>
              </a:defRPr>
            </a:lvl1pPr>
          </a:lstStyle>
          <a:p>
            <a:pPr lvl="0"/>
            <a:r>
              <a:rPr lang="en-US" dirty="0"/>
              <a:t>Quote about your topic line 1</a:t>
            </a:r>
            <a:br>
              <a:rPr lang="en-US" dirty="0"/>
            </a:br>
            <a:r>
              <a:rPr lang="en-US" dirty="0"/>
              <a:t>Quote about your topic line2</a:t>
            </a:r>
            <a:br>
              <a:rPr lang="en-US" dirty="0"/>
            </a:br>
            <a:r>
              <a:rPr lang="en-US" dirty="0"/>
              <a:t>                                  —author of quote</a:t>
            </a:r>
          </a:p>
        </p:txBody>
      </p:sp>
      <p:sp>
        <p:nvSpPr>
          <p:cNvPr id="11" name="TextBox 10"/>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pic>
        <p:nvPicPr>
          <p:cNvPr id="12" name="Picture 11"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25708"/>
            <a:ext cx="12192000" cy="432292"/>
          </a:xfrm>
          <a:prstGeom prst="rect">
            <a:avLst/>
          </a:prstGeom>
        </p:spPr>
      </p:pic>
      <p:sp>
        <p:nvSpPr>
          <p:cNvPr id="13" name="TextBox 12"/>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pic>
        <p:nvPicPr>
          <p:cNvPr id="6" name="Picture 5"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25708"/>
            <a:ext cx="12192000" cy="432292"/>
          </a:xfrm>
          <a:prstGeom prst="rect">
            <a:avLst/>
          </a:prstGeom>
        </p:spPr>
      </p:pic>
      <p:sp>
        <p:nvSpPr>
          <p:cNvPr id="7" name="TextBox 6"/>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6,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9" name="Group 8"/>
          <p:cNvGrpSpPr/>
          <p:nvPr userDrawn="1"/>
        </p:nvGrpSpPr>
        <p:grpSpPr>
          <a:xfrm>
            <a:off x="0" y="6433849"/>
            <a:ext cx="12192000" cy="432292"/>
            <a:chOff x="0" y="6433849"/>
            <a:chExt cx="9144000" cy="432292"/>
          </a:xfrm>
        </p:grpSpPr>
        <p:pic>
          <p:nvPicPr>
            <p:cNvPr id="10" name="Picture 9"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4" name="TextBox 13"/>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048106961"/>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00313" y="373275"/>
            <a:ext cx="10972800" cy="1143000"/>
          </a:xfrm>
          <a:prstGeom prst="rect">
            <a:avLst/>
          </a:prstGeom>
        </p:spPr>
        <p:txBody>
          <a:bodyPr vert="horz"/>
          <a:lstStyle>
            <a:lvl1pPr algn="l">
              <a:defRPr b="1" baseline="0">
                <a:solidFill>
                  <a:srgbClr val="14487F"/>
                </a:solidFill>
                <a:latin typeface="Times New Roman"/>
                <a:cs typeface="Times New Roman"/>
              </a:defRPr>
            </a:lvl1pPr>
          </a:lstStyle>
          <a:p>
            <a:r>
              <a:rPr lang="en-US" dirty="0"/>
              <a:t>Informational Slide Header</a:t>
            </a:r>
          </a:p>
        </p:txBody>
      </p:sp>
      <p:sp>
        <p:nvSpPr>
          <p:cNvPr id="8" name="Text Placeholder 7"/>
          <p:cNvSpPr>
            <a:spLocks noGrp="1"/>
          </p:cNvSpPr>
          <p:nvPr>
            <p:ph type="body" sz="quarter" idx="10" hasCustomPrompt="1"/>
          </p:nvPr>
        </p:nvSpPr>
        <p:spPr>
          <a:xfrm>
            <a:off x="710274" y="986263"/>
            <a:ext cx="6955367" cy="1316038"/>
          </a:xfrm>
          <a:prstGeom prst="rect">
            <a:avLst/>
          </a:prstGeom>
        </p:spPr>
        <p:txBody>
          <a:bodyPr vert="horz"/>
          <a:lstStyle>
            <a:lvl1pPr marL="0" indent="0">
              <a:buNone/>
              <a:defRPr b="0">
                <a:latin typeface="Arial"/>
                <a:cs typeface="Arial"/>
              </a:defRPr>
            </a:lvl1pPr>
          </a:lstStyle>
          <a:p>
            <a:pPr lvl="0"/>
            <a:r>
              <a:rPr lang="en-US" dirty="0"/>
              <a:t>Subhead</a:t>
            </a:r>
          </a:p>
        </p:txBody>
      </p:sp>
      <p:sp>
        <p:nvSpPr>
          <p:cNvPr id="6" name="Chart Placeholder 3"/>
          <p:cNvSpPr>
            <a:spLocks noGrp="1"/>
          </p:cNvSpPr>
          <p:nvPr>
            <p:ph type="chart" sz="quarter" idx="11"/>
          </p:nvPr>
        </p:nvSpPr>
        <p:spPr>
          <a:xfrm>
            <a:off x="705980" y="1751013"/>
            <a:ext cx="11032067" cy="4449762"/>
          </a:xfrm>
          <a:prstGeom prst="rect">
            <a:avLst/>
          </a:prstGeom>
        </p:spPr>
        <p:txBody>
          <a:bodyPr vert="horz"/>
          <a:lstStyle>
            <a:lvl1pPr>
              <a:defRPr>
                <a:latin typeface="Arial"/>
              </a:defRPr>
            </a:lvl1pPr>
          </a:lstStyle>
          <a:p>
            <a:endParaRPr lang="en-US" dirty="0"/>
          </a:p>
        </p:txBody>
      </p:sp>
      <p:sp>
        <p:nvSpPr>
          <p:cNvPr id="12" name="TextBox 11"/>
          <p:cNvSpPr txBox="1"/>
          <p:nvPr userDrawn="1"/>
        </p:nvSpPr>
        <p:spPr>
          <a:xfrm>
            <a:off x="0" y="6594153"/>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pic>
        <p:nvPicPr>
          <p:cNvPr id="14" name="Picture 13"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12192000" cy="432292"/>
          </a:xfrm>
          <a:prstGeom prst="rect">
            <a:avLst/>
          </a:prstGeom>
        </p:spPr>
      </p:pic>
      <p:sp>
        <p:nvSpPr>
          <p:cNvPr id="15" name="TextBox 14"/>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9" name="Group 8"/>
          <p:cNvGrpSpPr/>
          <p:nvPr userDrawn="1"/>
        </p:nvGrpSpPr>
        <p:grpSpPr>
          <a:xfrm>
            <a:off x="0" y="6425708"/>
            <a:ext cx="12192000" cy="432292"/>
            <a:chOff x="0" y="6433849"/>
            <a:chExt cx="9144000" cy="432292"/>
          </a:xfrm>
        </p:grpSpPr>
        <p:pic>
          <p:nvPicPr>
            <p:cNvPr id="10" name="Picture 9"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1" name="TextBox 10"/>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23067638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9_Custom Layout">
    <p:spTree>
      <p:nvGrpSpPr>
        <p:cNvPr id="1" name=""/>
        <p:cNvGrpSpPr/>
        <p:nvPr/>
      </p:nvGrpSpPr>
      <p:grpSpPr>
        <a:xfrm>
          <a:off x="0" y="0"/>
          <a:ext cx="0" cy="0"/>
          <a:chOff x="0" y="0"/>
          <a:chExt cx="0" cy="0"/>
        </a:xfrm>
      </p:grpSpPr>
      <p:pic>
        <p:nvPicPr>
          <p:cNvPr id="5" name="Picture 4"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8561"/>
            <a:ext cx="12266355" cy="6983061"/>
          </a:xfrm>
          <a:prstGeom prst="rect">
            <a:avLst/>
          </a:prstGeom>
        </p:spPr>
      </p:pic>
      <p:sp>
        <p:nvSpPr>
          <p:cNvPr id="4" name="Rectangle 3"/>
          <p:cNvSpPr/>
          <p:nvPr userDrawn="1"/>
        </p:nvSpPr>
        <p:spPr>
          <a:xfrm>
            <a:off x="1" y="2611619"/>
            <a:ext cx="12297828" cy="1615755"/>
          </a:xfrm>
          <a:prstGeom prst="rect">
            <a:avLst/>
          </a:prstGeom>
          <a:solidFill>
            <a:schemeClr val="bg1">
              <a:alpha val="50000"/>
            </a:schemeClr>
          </a:solidFill>
          <a:ln>
            <a:noFill/>
          </a:ln>
        </p:spPr>
        <p:style>
          <a:lnRef idx="1">
            <a:schemeClr val="accent1"/>
          </a:lnRef>
          <a:fillRef idx="3">
            <a:schemeClr val="accent1"/>
          </a:fillRef>
          <a:effectRef idx="2">
            <a:schemeClr val="accent1"/>
          </a:effectRef>
          <a:fontRef idx="minor">
            <a:schemeClr val="lt1"/>
          </a:fontRef>
        </p:style>
        <p:txBody>
          <a:bodyPr lIns="82056" tIns="41028" rIns="82056" bIns="41028" rtlCol="0" anchor="ctr"/>
          <a:lstStyle/>
          <a:p>
            <a:pPr algn="ctr"/>
            <a:endParaRPr lang="en-US" sz="1800" dirty="0">
              <a:latin typeface="Arial"/>
            </a:endParaRPr>
          </a:p>
        </p:txBody>
      </p:sp>
      <p:sp>
        <p:nvSpPr>
          <p:cNvPr id="6" name="Text Placeholder 5"/>
          <p:cNvSpPr>
            <a:spLocks noGrp="1"/>
          </p:cNvSpPr>
          <p:nvPr>
            <p:ph type="body" sz="quarter" idx="10" hasCustomPrompt="1"/>
          </p:nvPr>
        </p:nvSpPr>
        <p:spPr>
          <a:xfrm>
            <a:off x="314767" y="2862965"/>
            <a:ext cx="12189884" cy="1272798"/>
          </a:xfrm>
          <a:prstGeom prst="rect">
            <a:avLst/>
          </a:prstGeom>
        </p:spPr>
        <p:txBody>
          <a:bodyPr vert="horz"/>
          <a:lstStyle>
            <a:lvl1pPr marL="0" indent="0" algn="ctr">
              <a:buNone/>
              <a:defRPr sz="6300" b="1" baseline="0">
                <a:solidFill>
                  <a:schemeClr val="bg1"/>
                </a:solidFill>
                <a:latin typeface="Times New Roman"/>
                <a:cs typeface="Times New Roman"/>
              </a:defRPr>
            </a:lvl1pPr>
          </a:lstStyle>
          <a:p>
            <a:pPr lvl="0"/>
            <a:r>
              <a:rPr lang="en-US" dirty="0"/>
              <a:t>Section Divider</a:t>
            </a:r>
          </a:p>
        </p:txBody>
      </p:sp>
    </p:spTree>
    <p:extLst>
      <p:ext uri="{BB962C8B-B14F-4D97-AF65-F5344CB8AC3E}">
        <p14:creationId xmlns:p14="http://schemas.microsoft.com/office/powerpoint/2010/main" val="219667166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10_Custom Layout">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8561"/>
            <a:ext cx="12266355" cy="6983061"/>
          </a:xfrm>
          <a:prstGeom prst="rect">
            <a:avLst/>
          </a:prstGeom>
        </p:spPr>
      </p:pic>
      <p:sp>
        <p:nvSpPr>
          <p:cNvPr id="4" name="Rectangle 3"/>
          <p:cNvSpPr/>
          <p:nvPr userDrawn="1"/>
        </p:nvSpPr>
        <p:spPr>
          <a:xfrm>
            <a:off x="-1" y="2290976"/>
            <a:ext cx="12276121" cy="2259993"/>
          </a:xfrm>
          <a:prstGeom prst="rect">
            <a:avLst/>
          </a:prstGeom>
          <a:solidFill>
            <a:schemeClr val="bg1">
              <a:alpha val="50000"/>
            </a:schemeClr>
          </a:solidFill>
          <a:ln>
            <a:noFill/>
          </a:ln>
        </p:spPr>
        <p:style>
          <a:lnRef idx="1">
            <a:schemeClr val="accent1"/>
          </a:lnRef>
          <a:fillRef idx="3">
            <a:schemeClr val="accent1"/>
          </a:fillRef>
          <a:effectRef idx="2">
            <a:schemeClr val="accent1"/>
          </a:effectRef>
          <a:fontRef idx="minor">
            <a:schemeClr val="lt1"/>
          </a:fontRef>
        </p:style>
        <p:txBody>
          <a:bodyPr lIns="82056" tIns="41028" rIns="82056" bIns="41028" rtlCol="0" anchor="ctr"/>
          <a:lstStyle/>
          <a:p>
            <a:pPr algn="ctr"/>
            <a:endParaRPr lang="en-US" sz="1800" dirty="0">
              <a:latin typeface="Arial"/>
            </a:endParaRPr>
          </a:p>
        </p:txBody>
      </p:sp>
      <p:sp>
        <p:nvSpPr>
          <p:cNvPr id="7" name="Text Placeholder 6"/>
          <p:cNvSpPr>
            <a:spLocks noGrp="1"/>
          </p:cNvSpPr>
          <p:nvPr>
            <p:ph type="body" sz="quarter" idx="10" hasCustomPrompt="1"/>
          </p:nvPr>
        </p:nvSpPr>
        <p:spPr>
          <a:xfrm>
            <a:off x="1" y="2443249"/>
            <a:ext cx="12384663" cy="1961177"/>
          </a:xfrm>
          <a:prstGeom prst="rect">
            <a:avLst/>
          </a:prstGeom>
        </p:spPr>
        <p:txBody>
          <a:bodyPr vert="horz"/>
          <a:lstStyle>
            <a:lvl1pPr marL="0" indent="0" algn="ctr">
              <a:buNone/>
              <a:defRPr sz="6300" b="1" baseline="0">
                <a:solidFill>
                  <a:srgbClr val="FFFFFF"/>
                </a:solidFill>
                <a:latin typeface="Times New Roman"/>
                <a:cs typeface="Times New Roman"/>
              </a:defRPr>
            </a:lvl1pPr>
          </a:lstStyle>
          <a:p>
            <a:pPr lvl="0"/>
            <a:r>
              <a:rPr lang="en-US" dirty="0"/>
              <a:t>Section Divider</a:t>
            </a:r>
            <a:br>
              <a:rPr lang="en-US" dirty="0"/>
            </a:br>
            <a:r>
              <a:rPr lang="en-US" dirty="0"/>
              <a:t>Two Lines</a:t>
            </a:r>
          </a:p>
        </p:txBody>
      </p:sp>
    </p:spTree>
    <p:extLst>
      <p:ext uri="{BB962C8B-B14F-4D97-AF65-F5344CB8AC3E}">
        <p14:creationId xmlns:p14="http://schemas.microsoft.com/office/powerpoint/2010/main" val="172855432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Two Photo Slide Header</a:t>
            </a:r>
          </a:p>
        </p:txBody>
      </p:sp>
      <p:sp>
        <p:nvSpPr>
          <p:cNvPr id="7" name="Picture Placeholder 6"/>
          <p:cNvSpPr>
            <a:spLocks noGrp="1"/>
          </p:cNvSpPr>
          <p:nvPr>
            <p:ph type="pic" sz="quarter" idx="10"/>
          </p:nvPr>
        </p:nvSpPr>
        <p:spPr>
          <a:xfrm>
            <a:off x="816454" y="1406188"/>
            <a:ext cx="4989439" cy="4479388"/>
          </a:xfrm>
          <a:prstGeom prst="rect">
            <a:avLst/>
          </a:prstGeom>
        </p:spPr>
        <p:txBody>
          <a:bodyPr vert="horz"/>
          <a:lstStyle>
            <a:lvl1pPr>
              <a:defRPr>
                <a:latin typeface="Arial"/>
              </a:defRPr>
            </a:lvl1pPr>
          </a:lstStyle>
          <a:p>
            <a:endParaRPr lang="en-US" dirty="0"/>
          </a:p>
        </p:txBody>
      </p:sp>
      <p:sp>
        <p:nvSpPr>
          <p:cNvPr id="9" name="Picture Placeholder 6"/>
          <p:cNvSpPr>
            <a:spLocks noGrp="1"/>
          </p:cNvSpPr>
          <p:nvPr>
            <p:ph type="pic" sz="quarter" idx="11"/>
          </p:nvPr>
        </p:nvSpPr>
        <p:spPr>
          <a:xfrm>
            <a:off x="6432441" y="1411165"/>
            <a:ext cx="4989439" cy="4479388"/>
          </a:xfrm>
          <a:prstGeom prst="rect">
            <a:avLst/>
          </a:prstGeom>
        </p:spPr>
        <p:txBody>
          <a:bodyPr vert="horz"/>
          <a:lstStyle>
            <a:lvl1pPr>
              <a:defRPr>
                <a:latin typeface="Arial"/>
              </a:defRPr>
            </a:lvl1pPr>
          </a:lstStyle>
          <a:p>
            <a:endParaRPr lang="en-US" dirty="0"/>
          </a:p>
        </p:txBody>
      </p:sp>
      <p:sp>
        <p:nvSpPr>
          <p:cNvPr id="13" name="TextBox 12"/>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pic>
        <p:nvPicPr>
          <p:cNvPr id="15" name="Picture 14"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12192000" cy="432292"/>
          </a:xfrm>
          <a:prstGeom prst="rect">
            <a:avLst/>
          </a:prstGeom>
        </p:spPr>
      </p:pic>
      <p:sp>
        <p:nvSpPr>
          <p:cNvPr id="16" name="TextBox 15"/>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0" name="Group 9"/>
          <p:cNvGrpSpPr/>
          <p:nvPr userDrawn="1"/>
        </p:nvGrpSpPr>
        <p:grpSpPr>
          <a:xfrm>
            <a:off x="0" y="6425708"/>
            <a:ext cx="12192000" cy="432292"/>
            <a:chOff x="0" y="6433849"/>
            <a:chExt cx="9144000" cy="432292"/>
          </a:xfrm>
        </p:grpSpPr>
        <p:pic>
          <p:nvPicPr>
            <p:cNvPr id="11" name="Picture 10"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2" name="TextBox 11"/>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04995849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4_Custom Layou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Two Photo Slide Header</a:t>
            </a:r>
          </a:p>
        </p:txBody>
      </p:sp>
      <p:sp>
        <p:nvSpPr>
          <p:cNvPr id="11" name="Text Placeholder 10"/>
          <p:cNvSpPr>
            <a:spLocks noGrp="1"/>
          </p:cNvSpPr>
          <p:nvPr>
            <p:ph type="body" sz="quarter" idx="10" hasCustomPrompt="1"/>
          </p:nvPr>
        </p:nvSpPr>
        <p:spPr>
          <a:xfrm>
            <a:off x="695170" y="5011739"/>
            <a:ext cx="4959349" cy="726415"/>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mm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r>
              <a:rPr lang="en-US" sz="1050" dirty="0">
                <a:solidFill>
                  <a:srgbClr val="000000"/>
                </a:solidFill>
                <a:latin typeface="Arial"/>
                <a:cs typeface="Arial"/>
              </a:rPr>
              <a:t> magna </a:t>
            </a:r>
            <a:r>
              <a:rPr lang="en-US" sz="1050" dirty="0" err="1">
                <a:solidFill>
                  <a:srgbClr val="000000"/>
                </a:solidFill>
                <a:latin typeface="Arial"/>
                <a:cs typeface="Arial"/>
              </a:rPr>
              <a:t>aliquam</a:t>
            </a:r>
            <a:r>
              <a:rPr lang="en-US" sz="1050" dirty="0">
                <a:solidFill>
                  <a:srgbClr val="000000"/>
                </a:solidFill>
                <a:latin typeface="Arial"/>
                <a:cs typeface="Arial"/>
              </a:rPr>
              <a:t> </a:t>
            </a:r>
            <a:r>
              <a:rPr lang="en-US" sz="1050" dirty="0" err="1">
                <a:solidFill>
                  <a:srgbClr val="000000"/>
                </a:solidFill>
                <a:latin typeface="Arial"/>
                <a:cs typeface="Arial"/>
              </a:rPr>
              <a:t>erat</a:t>
            </a:r>
            <a:r>
              <a:rPr lang="en-US" sz="1050" dirty="0">
                <a:solidFill>
                  <a:srgbClr val="000000"/>
                </a:solidFill>
                <a:latin typeface="Arial"/>
                <a:cs typeface="Arial"/>
              </a:rPr>
              <a:t> </a:t>
            </a:r>
            <a:r>
              <a:rPr lang="en-US" sz="1050" dirty="0" err="1">
                <a:solidFill>
                  <a:srgbClr val="000000"/>
                </a:solidFill>
                <a:latin typeface="Arial"/>
                <a:cs typeface="Arial"/>
              </a:rPr>
              <a:t>volutpa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wisi</a:t>
            </a:r>
            <a:r>
              <a:rPr lang="en-US" sz="1050" dirty="0">
                <a:solidFill>
                  <a:srgbClr val="000000"/>
                </a:solidFill>
                <a:latin typeface="Arial"/>
                <a:cs typeface="Arial"/>
              </a:rPr>
              <a:t> </a:t>
            </a:r>
            <a:r>
              <a:rPr lang="en-US" sz="1050" dirty="0" err="1">
                <a:solidFill>
                  <a:srgbClr val="000000"/>
                </a:solidFill>
                <a:latin typeface="Arial"/>
                <a:cs typeface="Arial"/>
              </a:rPr>
              <a:t>enim</a:t>
            </a:r>
            <a:endParaRPr lang="en-US" dirty="0"/>
          </a:p>
        </p:txBody>
      </p:sp>
      <p:sp>
        <p:nvSpPr>
          <p:cNvPr id="12" name="Text Placeholder 10"/>
          <p:cNvSpPr>
            <a:spLocks noGrp="1"/>
          </p:cNvSpPr>
          <p:nvPr>
            <p:ph type="body" sz="quarter" idx="11" hasCustomPrompt="1"/>
          </p:nvPr>
        </p:nvSpPr>
        <p:spPr>
          <a:xfrm>
            <a:off x="6311154" y="5039396"/>
            <a:ext cx="4959349" cy="726415"/>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mm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r>
              <a:rPr lang="en-US" sz="1050" dirty="0">
                <a:solidFill>
                  <a:srgbClr val="000000"/>
                </a:solidFill>
                <a:latin typeface="Arial"/>
                <a:cs typeface="Arial"/>
              </a:rPr>
              <a:t> magna </a:t>
            </a:r>
            <a:r>
              <a:rPr lang="en-US" sz="1050" dirty="0" err="1">
                <a:solidFill>
                  <a:srgbClr val="000000"/>
                </a:solidFill>
                <a:latin typeface="Arial"/>
                <a:cs typeface="Arial"/>
              </a:rPr>
              <a:t>aliquam</a:t>
            </a:r>
            <a:r>
              <a:rPr lang="en-US" sz="1050" dirty="0">
                <a:solidFill>
                  <a:srgbClr val="000000"/>
                </a:solidFill>
                <a:latin typeface="Arial"/>
                <a:cs typeface="Arial"/>
              </a:rPr>
              <a:t> </a:t>
            </a:r>
            <a:r>
              <a:rPr lang="en-US" sz="1050" dirty="0" err="1">
                <a:solidFill>
                  <a:srgbClr val="000000"/>
                </a:solidFill>
                <a:latin typeface="Arial"/>
                <a:cs typeface="Arial"/>
              </a:rPr>
              <a:t>erat</a:t>
            </a:r>
            <a:r>
              <a:rPr lang="en-US" sz="1050" dirty="0">
                <a:solidFill>
                  <a:srgbClr val="000000"/>
                </a:solidFill>
                <a:latin typeface="Arial"/>
                <a:cs typeface="Arial"/>
              </a:rPr>
              <a:t> </a:t>
            </a:r>
            <a:r>
              <a:rPr lang="en-US" sz="1050" dirty="0" err="1">
                <a:solidFill>
                  <a:srgbClr val="000000"/>
                </a:solidFill>
                <a:latin typeface="Arial"/>
                <a:cs typeface="Arial"/>
              </a:rPr>
              <a:t>volutpa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wisi</a:t>
            </a:r>
            <a:r>
              <a:rPr lang="en-US" sz="1050" dirty="0">
                <a:solidFill>
                  <a:srgbClr val="000000"/>
                </a:solidFill>
                <a:latin typeface="Arial"/>
                <a:cs typeface="Arial"/>
              </a:rPr>
              <a:t> </a:t>
            </a:r>
            <a:r>
              <a:rPr lang="en-US" sz="1050" dirty="0" err="1">
                <a:solidFill>
                  <a:srgbClr val="000000"/>
                </a:solidFill>
                <a:latin typeface="Arial"/>
                <a:cs typeface="Arial"/>
              </a:rPr>
              <a:t>enim</a:t>
            </a:r>
            <a:endParaRPr lang="en-US" dirty="0"/>
          </a:p>
        </p:txBody>
      </p:sp>
      <p:sp>
        <p:nvSpPr>
          <p:cNvPr id="9" name="Picture Placeholder 6"/>
          <p:cNvSpPr>
            <a:spLocks noGrp="1"/>
          </p:cNvSpPr>
          <p:nvPr>
            <p:ph type="pic" sz="quarter" idx="12"/>
          </p:nvPr>
        </p:nvSpPr>
        <p:spPr>
          <a:xfrm>
            <a:off x="6425793" y="1406189"/>
            <a:ext cx="4989439" cy="3606191"/>
          </a:xfrm>
          <a:prstGeom prst="rect">
            <a:avLst/>
          </a:prstGeom>
        </p:spPr>
        <p:txBody>
          <a:bodyPr vert="horz"/>
          <a:lstStyle>
            <a:lvl1pPr>
              <a:defRPr>
                <a:latin typeface="Arial"/>
              </a:defRPr>
            </a:lvl1pPr>
          </a:lstStyle>
          <a:p>
            <a:endParaRPr lang="en-US" dirty="0"/>
          </a:p>
        </p:txBody>
      </p:sp>
      <p:sp>
        <p:nvSpPr>
          <p:cNvPr id="13" name="Picture Placeholder 6"/>
          <p:cNvSpPr>
            <a:spLocks noGrp="1"/>
          </p:cNvSpPr>
          <p:nvPr>
            <p:ph type="pic" sz="quarter" idx="13"/>
          </p:nvPr>
        </p:nvSpPr>
        <p:spPr>
          <a:xfrm>
            <a:off x="777741" y="1399826"/>
            <a:ext cx="4989439" cy="3606191"/>
          </a:xfrm>
          <a:prstGeom prst="rect">
            <a:avLst/>
          </a:prstGeom>
        </p:spPr>
        <p:txBody>
          <a:bodyPr vert="horz"/>
          <a:lstStyle>
            <a:lvl1pPr>
              <a:defRPr>
                <a:latin typeface="Arial"/>
              </a:defRPr>
            </a:lvl1pPr>
          </a:lstStyle>
          <a:p>
            <a:endParaRPr lang="en-US" dirty="0"/>
          </a:p>
        </p:txBody>
      </p:sp>
      <p:sp>
        <p:nvSpPr>
          <p:cNvPr id="16" name="TextBox 15"/>
          <p:cNvSpPr txBox="1"/>
          <p:nvPr userDrawn="1"/>
        </p:nvSpPr>
        <p:spPr>
          <a:xfrm>
            <a:off x="-2116" y="6585888"/>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20" name="TextBox 19"/>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4" name="Group 13"/>
          <p:cNvGrpSpPr/>
          <p:nvPr userDrawn="1"/>
        </p:nvGrpSpPr>
        <p:grpSpPr>
          <a:xfrm>
            <a:off x="0" y="6433849"/>
            <a:ext cx="12192000" cy="432292"/>
            <a:chOff x="0" y="6433849"/>
            <a:chExt cx="9144000" cy="432292"/>
          </a:xfrm>
        </p:grpSpPr>
        <p:pic>
          <p:nvPicPr>
            <p:cNvPr id="15" name="Picture 14"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7" name="TextBox 16"/>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262993118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5_Custom Layout">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629520" y="373276"/>
            <a:ext cx="10972800" cy="851469"/>
          </a:xfrm>
          <a:prstGeom prst="rect">
            <a:avLst/>
          </a:prstGeom>
        </p:spPr>
        <p:txBody>
          <a:bodyPr vert="horz"/>
          <a:lstStyle>
            <a:lvl1pPr algn="l">
              <a:defRPr b="1">
                <a:solidFill>
                  <a:srgbClr val="14487F"/>
                </a:solidFill>
                <a:latin typeface="Times New Roman"/>
                <a:cs typeface="Times New Roman"/>
              </a:defRPr>
            </a:lvl1pPr>
          </a:lstStyle>
          <a:p>
            <a:r>
              <a:rPr lang="en-US" dirty="0"/>
              <a:t>Three Photo Slide Header</a:t>
            </a:r>
          </a:p>
        </p:txBody>
      </p:sp>
      <p:sp>
        <p:nvSpPr>
          <p:cNvPr id="13" name="Text Placeholder 10"/>
          <p:cNvSpPr>
            <a:spLocks noGrp="1"/>
          </p:cNvSpPr>
          <p:nvPr>
            <p:ph type="body" sz="quarter" idx="10" hasCustomPrompt="1"/>
          </p:nvPr>
        </p:nvSpPr>
        <p:spPr>
          <a:xfrm>
            <a:off x="680050" y="4648852"/>
            <a:ext cx="3417340" cy="51095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14" name="Text Placeholder 10"/>
          <p:cNvSpPr>
            <a:spLocks noGrp="1"/>
          </p:cNvSpPr>
          <p:nvPr>
            <p:ph type="body" sz="quarter" idx="11" hasCustomPrompt="1"/>
          </p:nvPr>
        </p:nvSpPr>
        <p:spPr>
          <a:xfrm>
            <a:off x="4300257" y="4676509"/>
            <a:ext cx="3417340" cy="51095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15" name="Text Placeholder 10"/>
          <p:cNvSpPr>
            <a:spLocks noGrp="1"/>
          </p:cNvSpPr>
          <p:nvPr>
            <p:ph type="body" sz="quarter" idx="12" hasCustomPrompt="1"/>
          </p:nvPr>
        </p:nvSpPr>
        <p:spPr>
          <a:xfrm>
            <a:off x="7989423" y="4665169"/>
            <a:ext cx="3417340" cy="51095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11" name="Picture Placeholder 6"/>
          <p:cNvSpPr>
            <a:spLocks noGrp="1"/>
          </p:cNvSpPr>
          <p:nvPr>
            <p:ph type="pic" sz="quarter" idx="13"/>
          </p:nvPr>
        </p:nvSpPr>
        <p:spPr>
          <a:xfrm>
            <a:off x="771096" y="1394849"/>
            <a:ext cx="3341409" cy="3254644"/>
          </a:xfrm>
          <a:prstGeom prst="rect">
            <a:avLst/>
          </a:prstGeom>
        </p:spPr>
        <p:txBody>
          <a:bodyPr vert="horz"/>
          <a:lstStyle>
            <a:lvl1pPr>
              <a:defRPr>
                <a:latin typeface="Arial"/>
              </a:defRPr>
            </a:lvl1pPr>
          </a:lstStyle>
          <a:p>
            <a:endParaRPr lang="en-US" dirty="0"/>
          </a:p>
        </p:txBody>
      </p:sp>
      <p:sp>
        <p:nvSpPr>
          <p:cNvPr id="16" name="Picture Placeholder 6"/>
          <p:cNvSpPr>
            <a:spLocks noGrp="1"/>
          </p:cNvSpPr>
          <p:nvPr>
            <p:ph type="pic" sz="quarter" idx="14"/>
          </p:nvPr>
        </p:nvSpPr>
        <p:spPr>
          <a:xfrm>
            <a:off x="4406426" y="1399826"/>
            <a:ext cx="3341409" cy="3254644"/>
          </a:xfrm>
          <a:prstGeom prst="rect">
            <a:avLst/>
          </a:prstGeom>
        </p:spPr>
        <p:txBody>
          <a:bodyPr vert="horz"/>
          <a:lstStyle>
            <a:lvl1pPr>
              <a:defRPr>
                <a:latin typeface="Arial"/>
              </a:defRPr>
            </a:lvl1pPr>
          </a:lstStyle>
          <a:p>
            <a:endParaRPr lang="en-US" dirty="0"/>
          </a:p>
        </p:txBody>
      </p:sp>
      <p:sp>
        <p:nvSpPr>
          <p:cNvPr id="17" name="Picture Placeholder 6"/>
          <p:cNvSpPr>
            <a:spLocks noGrp="1"/>
          </p:cNvSpPr>
          <p:nvPr>
            <p:ph type="pic" sz="quarter" idx="15"/>
          </p:nvPr>
        </p:nvSpPr>
        <p:spPr>
          <a:xfrm>
            <a:off x="8080468" y="1388486"/>
            <a:ext cx="3341409" cy="3254644"/>
          </a:xfrm>
          <a:prstGeom prst="rect">
            <a:avLst/>
          </a:prstGeom>
        </p:spPr>
        <p:txBody>
          <a:bodyPr vert="horz"/>
          <a:lstStyle>
            <a:lvl1pPr>
              <a:defRPr>
                <a:latin typeface="Arial"/>
              </a:defRPr>
            </a:lvl1pPr>
          </a:lstStyle>
          <a:p>
            <a:endParaRPr lang="en-US" dirty="0"/>
          </a:p>
        </p:txBody>
      </p:sp>
      <p:sp>
        <p:nvSpPr>
          <p:cNvPr id="20" name="TextBox 19"/>
          <p:cNvSpPr txBox="1"/>
          <p:nvPr userDrawn="1"/>
        </p:nvSpPr>
        <p:spPr>
          <a:xfrm>
            <a:off x="0" y="659122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24" name="TextBox 23"/>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8" name="Group 17"/>
          <p:cNvGrpSpPr/>
          <p:nvPr userDrawn="1"/>
        </p:nvGrpSpPr>
        <p:grpSpPr>
          <a:xfrm>
            <a:off x="0" y="6433849"/>
            <a:ext cx="12192000" cy="432292"/>
            <a:chOff x="0" y="6433849"/>
            <a:chExt cx="9144000" cy="432292"/>
          </a:xfrm>
        </p:grpSpPr>
        <p:pic>
          <p:nvPicPr>
            <p:cNvPr id="19" name="Picture 18"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21" name="TextBox 20"/>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21997725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6_Custom Layout">
    <p:spTree>
      <p:nvGrpSpPr>
        <p:cNvPr id="1" name=""/>
        <p:cNvGrpSpPr/>
        <p:nvPr/>
      </p:nvGrpSpPr>
      <p:grpSpPr>
        <a:xfrm>
          <a:off x="0" y="0"/>
          <a:ext cx="0" cy="0"/>
          <a:chOff x="0" y="0"/>
          <a:chExt cx="0" cy="0"/>
        </a:xfrm>
      </p:grpSpPr>
      <p:sp>
        <p:nvSpPr>
          <p:cNvPr id="7" name="Picture Placeholder 6"/>
          <p:cNvSpPr>
            <a:spLocks noGrp="1"/>
          </p:cNvSpPr>
          <p:nvPr>
            <p:ph type="pic" sz="quarter" idx="18"/>
          </p:nvPr>
        </p:nvSpPr>
        <p:spPr>
          <a:xfrm>
            <a:off x="0" y="1"/>
            <a:ext cx="6092189" cy="6463927"/>
          </a:xfrm>
          <a:prstGeom prst="rect">
            <a:avLst/>
          </a:prstGeom>
        </p:spPr>
        <p:txBody>
          <a:bodyPr vert="horz"/>
          <a:lstStyle>
            <a:lvl1pPr>
              <a:defRPr>
                <a:latin typeface="Arial"/>
              </a:defRPr>
            </a:lvl1pPr>
          </a:lstStyle>
          <a:p>
            <a:endParaRPr lang="en-US" dirty="0"/>
          </a:p>
        </p:txBody>
      </p:sp>
      <p:sp>
        <p:nvSpPr>
          <p:cNvPr id="8" name="Picture Placeholder 6"/>
          <p:cNvSpPr>
            <a:spLocks noGrp="1"/>
          </p:cNvSpPr>
          <p:nvPr>
            <p:ph type="pic" sz="quarter" idx="19"/>
          </p:nvPr>
        </p:nvSpPr>
        <p:spPr>
          <a:xfrm>
            <a:off x="6099811" y="1"/>
            <a:ext cx="6092189" cy="6463927"/>
          </a:xfrm>
          <a:prstGeom prst="rect">
            <a:avLst/>
          </a:prstGeom>
        </p:spPr>
        <p:txBody>
          <a:bodyPr vert="horz"/>
          <a:lstStyle>
            <a:lvl1pPr>
              <a:defRPr>
                <a:latin typeface="Arial"/>
              </a:defRPr>
            </a:lvl1pPr>
          </a:lstStyle>
          <a:p>
            <a:endParaRPr lang="en-US" dirty="0"/>
          </a:p>
        </p:txBody>
      </p:sp>
      <p:sp>
        <p:nvSpPr>
          <p:cNvPr id="11" name="TextBox 10"/>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0" name="TextBox 9"/>
          <p:cNvSpPr txBox="1"/>
          <p:nvPr userDrawn="1"/>
        </p:nvSpPr>
        <p:spPr>
          <a:xfrm>
            <a:off x="-2116" y="6585888"/>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6" name="TextBox 15"/>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9" name="Group 8"/>
          <p:cNvGrpSpPr/>
          <p:nvPr userDrawn="1"/>
        </p:nvGrpSpPr>
        <p:grpSpPr>
          <a:xfrm>
            <a:off x="0" y="6433849"/>
            <a:ext cx="12192000" cy="432292"/>
            <a:chOff x="0" y="6433849"/>
            <a:chExt cx="9144000" cy="432292"/>
          </a:xfrm>
        </p:grpSpPr>
        <p:pic>
          <p:nvPicPr>
            <p:cNvPr id="12" name="Picture 11"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3" name="TextBox 12"/>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8926083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sp>
        <p:nvSpPr>
          <p:cNvPr id="4" name="TextBox 3"/>
          <p:cNvSpPr txBox="1"/>
          <p:nvPr userDrawn="1"/>
        </p:nvSpPr>
        <p:spPr>
          <a:xfrm>
            <a:off x="0" y="6615174"/>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8" name="TextBox 7"/>
          <p:cNvSpPr txBox="1"/>
          <p:nvPr userDrawn="1"/>
        </p:nvSpPr>
        <p:spPr>
          <a:xfrm>
            <a:off x="715994" y="384389"/>
            <a:ext cx="10875357" cy="1190853"/>
          </a:xfrm>
          <a:prstGeom prst="rect">
            <a:avLst/>
          </a:prstGeom>
          <a:noFill/>
          <a:effectLst>
            <a:outerShdw blurRad="50800" dist="38100" dir="2700000" algn="tl" rotWithShape="0">
              <a:prstClr val="black">
                <a:alpha val="40000"/>
              </a:prstClr>
            </a:outerShdw>
          </a:effectLst>
        </p:spPr>
        <p:txBody>
          <a:bodyPr wrap="square" lIns="82056" tIns="41028" rIns="82056" bIns="41028" rtlCol="0">
            <a:spAutoFit/>
          </a:bodyPr>
          <a:lstStyle/>
          <a:p>
            <a:br>
              <a:rPr lang="en-US" sz="4300" dirty="0">
                <a:solidFill>
                  <a:srgbClr val="006949"/>
                </a:solidFill>
                <a:latin typeface="Times New Roman"/>
                <a:cs typeface="Times New Roman"/>
              </a:rPr>
            </a:br>
            <a:endParaRPr lang="en-US" sz="2900" b="1" dirty="0">
              <a:solidFill>
                <a:srgbClr val="000000"/>
              </a:solidFill>
              <a:latin typeface="Arial"/>
              <a:cs typeface="Arial"/>
            </a:endParaRPr>
          </a:p>
        </p:txBody>
      </p:sp>
      <p:sp>
        <p:nvSpPr>
          <p:cNvPr id="9" name="Picture Placeholder 6"/>
          <p:cNvSpPr>
            <a:spLocks noGrp="1"/>
          </p:cNvSpPr>
          <p:nvPr>
            <p:ph type="pic" sz="quarter" idx="16"/>
          </p:nvPr>
        </p:nvSpPr>
        <p:spPr>
          <a:xfrm>
            <a:off x="6099811" y="3248284"/>
            <a:ext cx="6092189" cy="3226985"/>
          </a:xfrm>
          <a:prstGeom prst="rect">
            <a:avLst/>
          </a:prstGeom>
        </p:spPr>
        <p:txBody>
          <a:bodyPr vert="horz"/>
          <a:lstStyle>
            <a:lvl1pPr>
              <a:defRPr>
                <a:latin typeface="Arial"/>
              </a:defRPr>
            </a:lvl1pPr>
          </a:lstStyle>
          <a:p>
            <a:endParaRPr lang="en-US" dirty="0"/>
          </a:p>
        </p:txBody>
      </p:sp>
      <p:sp>
        <p:nvSpPr>
          <p:cNvPr id="10" name="Picture Placeholder 6"/>
          <p:cNvSpPr>
            <a:spLocks noGrp="1"/>
          </p:cNvSpPr>
          <p:nvPr>
            <p:ph type="pic" sz="quarter" idx="17"/>
          </p:nvPr>
        </p:nvSpPr>
        <p:spPr>
          <a:xfrm>
            <a:off x="6099811" y="1"/>
            <a:ext cx="6092189" cy="3226985"/>
          </a:xfrm>
          <a:prstGeom prst="rect">
            <a:avLst/>
          </a:prstGeom>
        </p:spPr>
        <p:txBody>
          <a:bodyPr vert="horz"/>
          <a:lstStyle>
            <a:lvl1pPr>
              <a:defRPr>
                <a:latin typeface="Arial"/>
              </a:defRPr>
            </a:lvl1pPr>
          </a:lstStyle>
          <a:p>
            <a:endParaRPr lang="en-US" dirty="0"/>
          </a:p>
        </p:txBody>
      </p:sp>
      <p:sp>
        <p:nvSpPr>
          <p:cNvPr id="11" name="Picture Placeholder 6"/>
          <p:cNvSpPr>
            <a:spLocks noGrp="1"/>
          </p:cNvSpPr>
          <p:nvPr>
            <p:ph type="pic" sz="quarter" idx="18"/>
          </p:nvPr>
        </p:nvSpPr>
        <p:spPr>
          <a:xfrm>
            <a:off x="0" y="1"/>
            <a:ext cx="6092189" cy="6463927"/>
          </a:xfrm>
          <a:prstGeom prst="rect">
            <a:avLst/>
          </a:prstGeom>
        </p:spPr>
        <p:txBody>
          <a:bodyPr vert="horz"/>
          <a:lstStyle>
            <a:lvl1pPr>
              <a:defRPr>
                <a:latin typeface="Arial"/>
              </a:defRPr>
            </a:lvl1pPr>
          </a:lstStyle>
          <a:p>
            <a:endParaRPr lang="en-US" dirty="0"/>
          </a:p>
        </p:txBody>
      </p:sp>
      <p:sp>
        <p:nvSpPr>
          <p:cNvPr id="14" name="TextBox 13"/>
          <p:cNvSpPr txBox="1"/>
          <p:nvPr userDrawn="1"/>
        </p:nvSpPr>
        <p:spPr>
          <a:xfrm>
            <a:off x="0" y="6594153"/>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8" name="TextBox 17"/>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2" name="Group 11"/>
          <p:cNvGrpSpPr/>
          <p:nvPr userDrawn="1"/>
        </p:nvGrpSpPr>
        <p:grpSpPr>
          <a:xfrm>
            <a:off x="0" y="6433849"/>
            <a:ext cx="12192000" cy="432292"/>
            <a:chOff x="0" y="6433849"/>
            <a:chExt cx="9144000" cy="432292"/>
          </a:xfrm>
        </p:grpSpPr>
        <p:pic>
          <p:nvPicPr>
            <p:cNvPr id="13" name="Picture 12"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5" name="TextBox 14"/>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42452924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2224892633"/>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12_Custom Layout">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629520" y="373275"/>
            <a:ext cx="10972800" cy="1143000"/>
          </a:xfrm>
          <a:prstGeom prst="rect">
            <a:avLst/>
          </a:prstGeom>
        </p:spPr>
        <p:txBody>
          <a:bodyPr vert="horz"/>
          <a:lstStyle>
            <a:lvl1pPr algn="l">
              <a:defRPr b="1" baseline="0">
                <a:solidFill>
                  <a:srgbClr val="14487F"/>
                </a:solidFill>
                <a:latin typeface="Times New Roman"/>
                <a:cs typeface="Times New Roman"/>
              </a:defRPr>
            </a:lvl1pPr>
          </a:lstStyle>
          <a:p>
            <a:r>
              <a:rPr lang="en-US" dirty="0"/>
              <a:t>Four Photo Collage Slide Header</a:t>
            </a:r>
          </a:p>
        </p:txBody>
      </p:sp>
      <p:sp>
        <p:nvSpPr>
          <p:cNvPr id="15" name="Text Placeholder 10"/>
          <p:cNvSpPr>
            <a:spLocks noGrp="1"/>
          </p:cNvSpPr>
          <p:nvPr>
            <p:ph type="body" sz="quarter" idx="11" hasCustomPrompt="1"/>
          </p:nvPr>
        </p:nvSpPr>
        <p:spPr>
          <a:xfrm>
            <a:off x="2682464" y="2460832"/>
            <a:ext cx="1475403" cy="601033"/>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baseline="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br>
              <a:rPr lang="en-US" sz="1050" dirty="0">
                <a:solidFill>
                  <a:srgbClr val="000000"/>
                </a:solidFill>
                <a:latin typeface="Arial"/>
                <a:cs typeface="Arial"/>
              </a:rPr>
            </a:br>
            <a:r>
              <a:rPr lang="en-US" sz="1050" dirty="0" err="1">
                <a:solidFill>
                  <a:srgbClr val="000000"/>
                </a:solidFill>
                <a:latin typeface="Arial"/>
                <a:cs typeface="Arial"/>
              </a:rPr>
              <a:t>consectetuer</a:t>
            </a:r>
            <a:br>
              <a:rPr lang="en-US" sz="1050" dirty="0">
                <a:solidFill>
                  <a:srgbClr val="000000"/>
                </a:solidFill>
                <a:latin typeface="Arial"/>
                <a:cs typeface="Arial"/>
              </a:rPr>
            </a:br>
            <a:r>
              <a:rPr lang="en-US" sz="1050" dirty="0">
                <a:solidFill>
                  <a:srgbClr val="000000"/>
                </a:solidFill>
                <a:latin typeface="Arial"/>
                <a:cs typeface="Arial"/>
              </a:rPr>
              <a:t> </a:t>
            </a:r>
            <a:r>
              <a:rPr lang="en-US" sz="1050" dirty="0" err="1">
                <a:solidFill>
                  <a:srgbClr val="000000"/>
                </a:solidFill>
                <a:latin typeface="Arial"/>
                <a:cs typeface="Arial"/>
              </a:rPr>
              <a:t>adipi</a:t>
            </a:r>
            <a:r>
              <a:rPr lang="en-US" sz="1050" dirty="0">
                <a:solidFill>
                  <a:srgbClr val="000000"/>
                </a:solidFill>
                <a:latin typeface="Arial"/>
                <a:cs typeface="Arial"/>
              </a:rPr>
              <a:t> at el</a:t>
            </a:r>
          </a:p>
        </p:txBody>
      </p:sp>
      <p:sp>
        <p:nvSpPr>
          <p:cNvPr id="16" name="Text Placeholder 10"/>
          <p:cNvSpPr>
            <a:spLocks noGrp="1"/>
          </p:cNvSpPr>
          <p:nvPr>
            <p:ph type="body" sz="quarter" idx="12" hasCustomPrompt="1"/>
          </p:nvPr>
        </p:nvSpPr>
        <p:spPr>
          <a:xfrm>
            <a:off x="6000292" y="5380247"/>
            <a:ext cx="4332984" cy="437289"/>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baseline="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a:t>
            </a:r>
            <a:r>
              <a:rPr lang="en-US" sz="1050" dirty="0">
                <a:solidFill>
                  <a:srgbClr val="000000"/>
                </a:solidFill>
                <a:latin typeface="Arial"/>
                <a:cs typeface="Arial"/>
              </a:rPr>
              <a:t> at el</a:t>
            </a:r>
          </a:p>
        </p:txBody>
      </p:sp>
      <p:sp>
        <p:nvSpPr>
          <p:cNvPr id="17" name="Text Placeholder 10"/>
          <p:cNvSpPr>
            <a:spLocks noGrp="1"/>
          </p:cNvSpPr>
          <p:nvPr>
            <p:ph type="body" sz="quarter" idx="13" hasCustomPrompt="1"/>
          </p:nvPr>
        </p:nvSpPr>
        <p:spPr>
          <a:xfrm>
            <a:off x="2680646" y="5124399"/>
            <a:ext cx="3382281" cy="398291"/>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baseline="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a:t>
            </a:r>
            <a:r>
              <a:rPr lang="en-US" sz="1050" dirty="0">
                <a:solidFill>
                  <a:srgbClr val="000000"/>
                </a:solidFill>
                <a:latin typeface="Arial"/>
                <a:cs typeface="Arial"/>
              </a:rPr>
              <a:t> at el</a:t>
            </a:r>
          </a:p>
        </p:txBody>
      </p:sp>
      <p:sp>
        <p:nvSpPr>
          <p:cNvPr id="18" name="Text Placeholder 10"/>
          <p:cNvSpPr>
            <a:spLocks noGrp="1"/>
          </p:cNvSpPr>
          <p:nvPr>
            <p:ph type="body" sz="quarter" idx="14" hasCustomPrompt="1"/>
          </p:nvPr>
        </p:nvSpPr>
        <p:spPr>
          <a:xfrm>
            <a:off x="6205319" y="1360830"/>
            <a:ext cx="4332984" cy="385564"/>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baseline="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a:t>
            </a:r>
            <a:r>
              <a:rPr lang="en-US" sz="1050" dirty="0">
                <a:solidFill>
                  <a:srgbClr val="000000"/>
                </a:solidFill>
                <a:latin typeface="Arial"/>
                <a:cs typeface="Arial"/>
              </a:rPr>
              <a:t> at el</a:t>
            </a:r>
          </a:p>
        </p:txBody>
      </p:sp>
      <p:sp>
        <p:nvSpPr>
          <p:cNvPr id="13" name="Picture Placeholder 6"/>
          <p:cNvSpPr>
            <a:spLocks noGrp="1"/>
          </p:cNvSpPr>
          <p:nvPr>
            <p:ph type="pic" sz="quarter" idx="15"/>
          </p:nvPr>
        </p:nvSpPr>
        <p:spPr>
          <a:xfrm>
            <a:off x="4203227" y="1338148"/>
            <a:ext cx="1905059" cy="2041239"/>
          </a:xfrm>
          <a:prstGeom prst="rect">
            <a:avLst/>
          </a:prstGeom>
        </p:spPr>
        <p:txBody>
          <a:bodyPr vert="horz"/>
          <a:lstStyle>
            <a:lvl1pPr>
              <a:defRPr>
                <a:latin typeface="Arial"/>
              </a:defRPr>
            </a:lvl1pPr>
          </a:lstStyle>
          <a:p>
            <a:endParaRPr lang="en-US" dirty="0"/>
          </a:p>
        </p:txBody>
      </p:sp>
      <p:sp>
        <p:nvSpPr>
          <p:cNvPr id="19" name="Picture Placeholder 6"/>
          <p:cNvSpPr>
            <a:spLocks noGrp="1"/>
          </p:cNvSpPr>
          <p:nvPr>
            <p:ph type="pic" sz="quarter" idx="16"/>
          </p:nvPr>
        </p:nvSpPr>
        <p:spPr>
          <a:xfrm>
            <a:off x="6084691" y="3373026"/>
            <a:ext cx="2472953" cy="2041239"/>
          </a:xfrm>
          <a:prstGeom prst="rect">
            <a:avLst/>
          </a:prstGeom>
        </p:spPr>
        <p:txBody>
          <a:bodyPr vert="horz"/>
          <a:lstStyle>
            <a:lvl1pPr>
              <a:defRPr>
                <a:latin typeface="Arial"/>
              </a:defRPr>
            </a:lvl1pPr>
          </a:lstStyle>
          <a:p>
            <a:endParaRPr lang="en-US" dirty="0"/>
          </a:p>
        </p:txBody>
      </p:sp>
      <p:sp>
        <p:nvSpPr>
          <p:cNvPr id="20" name="Picture Placeholder 6"/>
          <p:cNvSpPr>
            <a:spLocks noGrp="1"/>
          </p:cNvSpPr>
          <p:nvPr>
            <p:ph type="pic" sz="quarter" idx="17"/>
          </p:nvPr>
        </p:nvSpPr>
        <p:spPr>
          <a:xfrm>
            <a:off x="6121576" y="1746394"/>
            <a:ext cx="2874536" cy="1620266"/>
          </a:xfrm>
          <a:prstGeom prst="rect">
            <a:avLst/>
          </a:prstGeom>
        </p:spPr>
        <p:txBody>
          <a:bodyPr vert="horz"/>
          <a:lstStyle>
            <a:lvl1pPr>
              <a:defRPr>
                <a:latin typeface="Arial"/>
              </a:defRPr>
            </a:lvl1pPr>
          </a:lstStyle>
          <a:p>
            <a:endParaRPr lang="en-US" dirty="0"/>
          </a:p>
        </p:txBody>
      </p:sp>
      <p:sp>
        <p:nvSpPr>
          <p:cNvPr id="21" name="Picture Placeholder 6"/>
          <p:cNvSpPr>
            <a:spLocks noGrp="1"/>
          </p:cNvSpPr>
          <p:nvPr>
            <p:ph type="pic" sz="quarter" idx="18"/>
          </p:nvPr>
        </p:nvSpPr>
        <p:spPr>
          <a:xfrm>
            <a:off x="2766873" y="3389343"/>
            <a:ext cx="3317817" cy="1759119"/>
          </a:xfrm>
          <a:prstGeom prst="rect">
            <a:avLst/>
          </a:prstGeom>
        </p:spPr>
        <p:txBody>
          <a:bodyPr vert="horz"/>
          <a:lstStyle>
            <a:lvl1pPr>
              <a:defRPr>
                <a:latin typeface="Arial"/>
              </a:defRPr>
            </a:lvl1pPr>
          </a:lstStyle>
          <a:p>
            <a:endParaRPr lang="en-US" dirty="0"/>
          </a:p>
        </p:txBody>
      </p:sp>
      <p:sp>
        <p:nvSpPr>
          <p:cNvPr id="24" name="TextBox 23"/>
          <p:cNvSpPr txBox="1"/>
          <p:nvPr userDrawn="1"/>
        </p:nvSpPr>
        <p:spPr>
          <a:xfrm>
            <a:off x="0" y="659122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25" name="TextBox 24"/>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28" name="TextBox 27"/>
          <p:cNvSpPr txBox="1"/>
          <p:nvPr userDrawn="1"/>
        </p:nvSpPr>
        <p:spPr>
          <a:xfrm>
            <a:off x="-2116" y="6585888"/>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30" name="TextBox 29"/>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22" name="Group 21"/>
          <p:cNvGrpSpPr/>
          <p:nvPr userDrawn="1"/>
        </p:nvGrpSpPr>
        <p:grpSpPr>
          <a:xfrm>
            <a:off x="0" y="6433849"/>
            <a:ext cx="12192000" cy="432292"/>
            <a:chOff x="0" y="6433849"/>
            <a:chExt cx="9144000" cy="432292"/>
          </a:xfrm>
        </p:grpSpPr>
        <p:pic>
          <p:nvPicPr>
            <p:cNvPr id="23" name="Picture 22"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26" name="TextBox 25"/>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209309448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13_Custom Layout">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History of the School</a:t>
            </a:r>
          </a:p>
        </p:txBody>
      </p:sp>
      <p:sp>
        <p:nvSpPr>
          <p:cNvPr id="14" name="Text Placeholder 10"/>
          <p:cNvSpPr>
            <a:spLocks noGrp="1"/>
          </p:cNvSpPr>
          <p:nvPr>
            <p:ph type="body" sz="quarter" idx="10" hasCustomPrompt="1"/>
          </p:nvPr>
        </p:nvSpPr>
        <p:spPr>
          <a:xfrm>
            <a:off x="680047" y="5782874"/>
            <a:ext cx="5564313" cy="442909"/>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ae</a:t>
            </a:r>
            <a:br>
              <a:rPr lang="en-US" sz="1050" dirty="0">
                <a:solidFill>
                  <a:srgbClr val="000000"/>
                </a:solidFill>
                <a:latin typeface="Arial"/>
                <a:cs typeface="Arial"/>
              </a:rPr>
            </a:br>
            <a:endParaRPr lang="en-US" dirty="0"/>
          </a:p>
        </p:txBody>
      </p:sp>
      <p:sp>
        <p:nvSpPr>
          <p:cNvPr id="15" name="Text Placeholder 10"/>
          <p:cNvSpPr>
            <a:spLocks noGrp="1"/>
          </p:cNvSpPr>
          <p:nvPr>
            <p:ph type="body" sz="quarter" idx="11"/>
          </p:nvPr>
        </p:nvSpPr>
        <p:spPr>
          <a:xfrm>
            <a:off x="6114601" y="1156705"/>
            <a:ext cx="5315755" cy="3622507"/>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p:txBody>
      </p:sp>
      <p:sp>
        <p:nvSpPr>
          <p:cNvPr id="8" name="Picture Placeholder 6"/>
          <p:cNvSpPr>
            <a:spLocks noGrp="1"/>
          </p:cNvSpPr>
          <p:nvPr>
            <p:ph type="pic" sz="quarter" idx="15"/>
          </p:nvPr>
        </p:nvSpPr>
        <p:spPr>
          <a:xfrm>
            <a:off x="771097" y="1315468"/>
            <a:ext cx="4928961" cy="4445365"/>
          </a:xfrm>
          <a:prstGeom prst="rect">
            <a:avLst/>
          </a:prstGeom>
        </p:spPr>
        <p:txBody>
          <a:bodyPr vert="horz"/>
          <a:lstStyle>
            <a:lvl1pPr>
              <a:defRPr>
                <a:latin typeface="Arial"/>
              </a:defRPr>
            </a:lvl1pPr>
          </a:lstStyle>
          <a:p>
            <a:endParaRPr lang="en-US" dirty="0"/>
          </a:p>
        </p:txBody>
      </p:sp>
      <p:sp>
        <p:nvSpPr>
          <p:cNvPr id="11" name="TextBox 10"/>
          <p:cNvSpPr txBox="1"/>
          <p:nvPr userDrawn="1"/>
        </p:nvSpPr>
        <p:spPr>
          <a:xfrm>
            <a:off x="0" y="659122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3" name="TextBox 12"/>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6" name="TextBox 15"/>
          <p:cNvSpPr txBox="1"/>
          <p:nvPr userDrawn="1"/>
        </p:nvSpPr>
        <p:spPr>
          <a:xfrm>
            <a:off x="-2116" y="6585888"/>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grpSp>
        <p:nvGrpSpPr>
          <p:cNvPr id="17" name="Group 16"/>
          <p:cNvGrpSpPr/>
          <p:nvPr userDrawn="1"/>
        </p:nvGrpSpPr>
        <p:grpSpPr>
          <a:xfrm>
            <a:off x="0" y="6433849"/>
            <a:ext cx="12192000" cy="432292"/>
            <a:chOff x="0" y="6433849"/>
            <a:chExt cx="9144000" cy="432292"/>
          </a:xfrm>
        </p:grpSpPr>
        <p:pic>
          <p:nvPicPr>
            <p:cNvPr id="18" name="Picture 17"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9" name="TextBox 18"/>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307962557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4_Custom Layou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Our Mission</a:t>
            </a:r>
          </a:p>
        </p:txBody>
      </p:sp>
      <p:sp>
        <p:nvSpPr>
          <p:cNvPr id="11" name="Text Placeholder 10"/>
          <p:cNvSpPr>
            <a:spLocks noGrp="1"/>
          </p:cNvSpPr>
          <p:nvPr>
            <p:ph type="body" sz="quarter" idx="10" hasCustomPrompt="1"/>
          </p:nvPr>
        </p:nvSpPr>
        <p:spPr>
          <a:xfrm>
            <a:off x="680047" y="5782874"/>
            <a:ext cx="5564313" cy="442909"/>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ae</a:t>
            </a:r>
            <a:br>
              <a:rPr lang="en-US" sz="1050" dirty="0">
                <a:solidFill>
                  <a:srgbClr val="000000"/>
                </a:solidFill>
                <a:latin typeface="Arial"/>
                <a:cs typeface="Arial"/>
              </a:rPr>
            </a:br>
            <a:endParaRPr lang="en-US" dirty="0"/>
          </a:p>
        </p:txBody>
      </p:sp>
      <p:sp>
        <p:nvSpPr>
          <p:cNvPr id="12" name="Text Placeholder 10"/>
          <p:cNvSpPr>
            <a:spLocks noGrp="1"/>
          </p:cNvSpPr>
          <p:nvPr>
            <p:ph type="body" sz="quarter" idx="11" hasCustomPrompt="1"/>
          </p:nvPr>
        </p:nvSpPr>
        <p:spPr>
          <a:xfrm>
            <a:off x="6114601" y="1315528"/>
            <a:ext cx="5315755" cy="4858478"/>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Gentona Book"/>
                <a:cs typeface="Gentona Book"/>
              </a:defRPr>
            </a:lvl1pPr>
          </a:lstStyle>
          <a:p>
            <a:r>
              <a:rPr lang="en-US" sz="1050" dirty="0">
                <a:solidFill>
                  <a:srgbClr val="000000"/>
                </a:solidFill>
                <a:latin typeface="Arial"/>
                <a:cs typeface="Arial"/>
              </a:rPr>
              <a:t>The Johns Hopkins Bloomberg School of Public Health has a big mission: </a:t>
            </a:r>
            <a:r>
              <a:rPr lang="en-US" sz="1050" i="1" dirty="0">
                <a:solidFill>
                  <a:srgbClr val="000000"/>
                </a:solidFill>
                <a:latin typeface="Arial"/>
                <a:cs typeface="Arial"/>
              </a:rPr>
              <a:t>Protecting Health, Saving Lives – Millions at a Time</a:t>
            </a:r>
            <a:r>
              <a:rPr lang="en-US" sz="1050" dirty="0">
                <a:solidFill>
                  <a:srgbClr val="000000"/>
                </a:solidFill>
                <a:latin typeface="Arial"/>
                <a:cs typeface="Arial"/>
              </a:rPr>
              <a:t>.</a:t>
            </a:r>
          </a:p>
          <a:p>
            <a:endParaRPr lang="en-US" sz="1050" dirty="0">
              <a:solidFill>
                <a:srgbClr val="000000"/>
              </a:solidFill>
              <a:latin typeface="Arial"/>
              <a:cs typeface="Arial"/>
            </a:endParaRPr>
          </a:p>
          <a:p>
            <a:r>
              <a:rPr lang="en-US" sz="1050" dirty="0">
                <a:solidFill>
                  <a:srgbClr val="000000"/>
                </a:solidFill>
                <a:latin typeface="Arial"/>
                <a:cs typeface="Arial"/>
              </a:rPr>
              <a:t>Since its founding in 1916, the Bloomberg School has advanced research, education and practice to create solutions to public health problems around the world.</a:t>
            </a:r>
          </a:p>
          <a:p>
            <a:endParaRPr lang="en-US" sz="1050" dirty="0">
              <a:solidFill>
                <a:srgbClr val="000000"/>
              </a:solidFill>
              <a:latin typeface="Arial"/>
              <a:cs typeface="Arial"/>
            </a:endParaRPr>
          </a:p>
          <a:p>
            <a:r>
              <a:rPr lang="en-US" sz="1050" dirty="0">
                <a:solidFill>
                  <a:srgbClr val="000000"/>
                </a:solidFill>
                <a:latin typeface="Arial"/>
                <a:cs typeface="Arial"/>
              </a:rPr>
              <a:t>Faculty, staff and students have helped eradicate smallpox, made water safe to drink, improved child survival, reduced the spread of HIV and uncovered the dangers of tobacco smoke.</a:t>
            </a:r>
          </a:p>
          <a:p>
            <a:endParaRPr lang="en-US" sz="1050" dirty="0">
              <a:solidFill>
                <a:srgbClr val="000000"/>
              </a:solidFill>
              <a:latin typeface="Arial"/>
              <a:cs typeface="Arial"/>
            </a:endParaRPr>
          </a:p>
          <a:p>
            <a:r>
              <a:rPr lang="en-US" sz="1050" dirty="0">
                <a:solidFill>
                  <a:srgbClr val="000000"/>
                </a:solidFill>
                <a:latin typeface="Arial"/>
                <a:cs typeface="Arial"/>
              </a:rPr>
              <a:t>Researchers and scientists are now discovering ways to eliminate malaria, increase healthy behavior, reduce the toll of chronic disease, improve the health of mothers and infants, and change the biology of aging.</a:t>
            </a:r>
          </a:p>
          <a:p>
            <a:endParaRPr lang="en-US" sz="1050" dirty="0">
              <a:solidFill>
                <a:srgbClr val="000000"/>
              </a:solidFill>
              <a:latin typeface="Arial"/>
              <a:cs typeface="Arial"/>
            </a:endParaRPr>
          </a:p>
          <a:p>
            <a:r>
              <a:rPr lang="en-US" sz="1050" dirty="0">
                <a:solidFill>
                  <a:srgbClr val="000000"/>
                </a:solidFill>
                <a:latin typeface="Arial"/>
                <a:cs typeface="Arial"/>
              </a:rPr>
              <a:t>Every day, the Bloomberg School works to keep millions around the world safe from illness and injury by pioneering new research, deploying knowledge in the field and educating tomorrow’s public health leaders.</a:t>
            </a:r>
          </a:p>
          <a:p>
            <a:pPr>
              <a:lnSpc>
                <a:spcPct val="150000"/>
              </a:lnSpc>
              <a:defRPr/>
            </a:pPr>
            <a:endParaRPr lang="en-US" sz="1050" baseline="30000" dirty="0">
              <a:solidFill>
                <a:srgbClr val="000000"/>
              </a:solidFill>
              <a:latin typeface="Arial"/>
              <a:cs typeface="Arial"/>
            </a:endParaRPr>
          </a:p>
        </p:txBody>
      </p:sp>
      <p:sp>
        <p:nvSpPr>
          <p:cNvPr id="8" name="Picture Placeholder 6"/>
          <p:cNvSpPr>
            <a:spLocks noGrp="1"/>
          </p:cNvSpPr>
          <p:nvPr>
            <p:ph type="pic" sz="quarter" idx="15"/>
          </p:nvPr>
        </p:nvSpPr>
        <p:spPr>
          <a:xfrm>
            <a:off x="771097" y="1315468"/>
            <a:ext cx="4928961" cy="4445365"/>
          </a:xfrm>
          <a:prstGeom prst="rect">
            <a:avLst/>
          </a:prstGeom>
        </p:spPr>
        <p:txBody>
          <a:bodyPr vert="horz"/>
          <a:lstStyle>
            <a:lvl1pPr>
              <a:defRPr>
                <a:latin typeface="Arial"/>
              </a:defRPr>
            </a:lvl1pPr>
          </a:lstStyle>
          <a:p>
            <a:endParaRPr lang="en-US" dirty="0"/>
          </a:p>
        </p:txBody>
      </p:sp>
      <p:sp>
        <p:nvSpPr>
          <p:cNvPr id="15" name="TextBox 14"/>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sp>
        <p:nvSpPr>
          <p:cNvPr id="19" name="TextBox 18"/>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0" name="Group 9"/>
          <p:cNvGrpSpPr/>
          <p:nvPr userDrawn="1"/>
        </p:nvGrpSpPr>
        <p:grpSpPr>
          <a:xfrm>
            <a:off x="0" y="6433849"/>
            <a:ext cx="12192000" cy="432292"/>
            <a:chOff x="0" y="6433849"/>
            <a:chExt cx="9144000" cy="432292"/>
          </a:xfrm>
        </p:grpSpPr>
        <p:pic>
          <p:nvPicPr>
            <p:cNvPr id="13" name="Picture 12"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4" name="TextBox 13"/>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387455519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5_Custom Layout">
    <p:spTree>
      <p:nvGrpSpPr>
        <p:cNvPr id="1" name=""/>
        <p:cNvGrpSpPr/>
        <p:nvPr/>
      </p:nvGrpSpPr>
      <p:grpSpPr>
        <a:xfrm>
          <a:off x="0" y="0"/>
          <a:ext cx="0" cy="0"/>
          <a:chOff x="0" y="0"/>
          <a:chExt cx="0" cy="0"/>
        </a:xfrm>
      </p:grpSpPr>
      <p:sp>
        <p:nvSpPr>
          <p:cNvPr id="4" name="TextBox 3"/>
          <p:cNvSpPr txBox="1"/>
          <p:nvPr userDrawn="1"/>
        </p:nvSpPr>
        <p:spPr>
          <a:xfrm>
            <a:off x="0" y="6615174"/>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9"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School Facts</a:t>
            </a:r>
            <a:br>
              <a:rPr lang="en-US" dirty="0"/>
            </a:br>
            <a:endParaRPr lang="en-US" dirty="0"/>
          </a:p>
        </p:txBody>
      </p:sp>
      <p:sp>
        <p:nvSpPr>
          <p:cNvPr id="11" name="Text Placeholder 10"/>
          <p:cNvSpPr>
            <a:spLocks noGrp="1"/>
          </p:cNvSpPr>
          <p:nvPr>
            <p:ph type="body" sz="quarter" idx="10" hasCustomPrompt="1"/>
          </p:nvPr>
        </p:nvSpPr>
        <p:spPr>
          <a:xfrm>
            <a:off x="680047" y="5782874"/>
            <a:ext cx="5564313" cy="442909"/>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dirty="0"/>
              <a:t>Sit </a:t>
            </a:r>
            <a:r>
              <a:rPr lang="en-US" dirty="0" err="1"/>
              <a:t>amet</a:t>
            </a:r>
            <a:r>
              <a:rPr lang="en-US" dirty="0"/>
              <a:t>, </a:t>
            </a:r>
            <a:r>
              <a:rPr lang="en-US" dirty="0" err="1"/>
              <a:t>consectuer</a:t>
            </a:r>
            <a:r>
              <a:rPr lang="en-US" dirty="0"/>
              <a:t> </a:t>
            </a:r>
            <a:r>
              <a:rPr lang="en-US" dirty="0" err="1"/>
              <a:t>elit</a:t>
            </a:r>
            <a:r>
              <a:rPr lang="en-US" dirty="0"/>
              <a:t>, sit </a:t>
            </a:r>
            <a:r>
              <a:rPr lang="en-US" dirty="0" err="1"/>
              <a:t>diam</a:t>
            </a:r>
            <a:r>
              <a:rPr lang="en-US" dirty="0"/>
              <a:t> </a:t>
            </a:r>
            <a:r>
              <a:rPr lang="en-US" dirty="0" err="1"/>
              <a:t>nonuy</a:t>
            </a:r>
            <a:r>
              <a:rPr lang="en-US" dirty="0"/>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ae</a:t>
            </a:r>
            <a:br>
              <a:rPr lang="en-US" sz="1050" dirty="0">
                <a:solidFill>
                  <a:srgbClr val="000000"/>
                </a:solidFill>
                <a:latin typeface="Arial"/>
                <a:cs typeface="Arial"/>
              </a:rPr>
            </a:br>
            <a:endParaRPr lang="en-US" dirty="0"/>
          </a:p>
        </p:txBody>
      </p:sp>
      <p:sp>
        <p:nvSpPr>
          <p:cNvPr id="12" name="Text Placeholder 10"/>
          <p:cNvSpPr>
            <a:spLocks noGrp="1"/>
          </p:cNvSpPr>
          <p:nvPr>
            <p:ph type="body" sz="quarter" idx="11"/>
          </p:nvPr>
        </p:nvSpPr>
        <p:spPr>
          <a:xfrm>
            <a:off x="6114601" y="1225974"/>
            <a:ext cx="5315755" cy="4858478"/>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solidFill>
                  <a:schemeClr val="tx1"/>
                </a:solidFill>
                <a:latin typeface="Gentona Book"/>
                <a:cs typeface="Gentona Book"/>
              </a:defRPr>
            </a:lvl1pPr>
          </a:lstStyle>
          <a:p>
            <a:pPr>
              <a:lnSpc>
                <a:spcPct val="150000"/>
              </a:lnSpc>
              <a:defRPr/>
            </a:pPr>
            <a:endParaRPr lang="en-US" sz="1300" baseline="30000" dirty="0">
              <a:solidFill>
                <a:srgbClr val="000000"/>
              </a:solidFill>
              <a:latin typeface="Arial"/>
              <a:cs typeface="Arial"/>
            </a:endParaRPr>
          </a:p>
          <a:p>
            <a:pPr>
              <a:lnSpc>
                <a:spcPct val="150000"/>
              </a:lnSpc>
              <a:defRPr/>
            </a:pPr>
            <a:endParaRPr lang="en-US" sz="1050" baseline="30000" dirty="0">
              <a:solidFill>
                <a:srgbClr val="000000"/>
              </a:solidFill>
              <a:latin typeface="Arial"/>
              <a:cs typeface="Arial"/>
            </a:endParaRPr>
          </a:p>
        </p:txBody>
      </p:sp>
      <p:sp>
        <p:nvSpPr>
          <p:cNvPr id="8" name="Picture Placeholder 6"/>
          <p:cNvSpPr>
            <a:spLocks noGrp="1"/>
          </p:cNvSpPr>
          <p:nvPr>
            <p:ph type="pic" sz="quarter" idx="15"/>
          </p:nvPr>
        </p:nvSpPr>
        <p:spPr>
          <a:xfrm>
            <a:off x="771097" y="1315468"/>
            <a:ext cx="4928961" cy="4445365"/>
          </a:xfrm>
          <a:prstGeom prst="rect">
            <a:avLst/>
          </a:prstGeom>
        </p:spPr>
        <p:txBody>
          <a:bodyPr vert="horz"/>
          <a:lstStyle>
            <a:lvl1pPr>
              <a:defRPr>
                <a:latin typeface="Arial"/>
              </a:defRPr>
            </a:lvl1pPr>
          </a:lstStyle>
          <a:p>
            <a:endParaRPr lang="en-US" dirty="0"/>
          </a:p>
        </p:txBody>
      </p:sp>
      <p:sp>
        <p:nvSpPr>
          <p:cNvPr id="15" name="TextBox 14"/>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7" name="TextBox 16"/>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sp>
        <p:nvSpPr>
          <p:cNvPr id="20" name="TextBox 19"/>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3" name="Group 12"/>
          <p:cNvGrpSpPr/>
          <p:nvPr userDrawn="1"/>
        </p:nvGrpSpPr>
        <p:grpSpPr>
          <a:xfrm>
            <a:off x="0" y="6433849"/>
            <a:ext cx="12192000" cy="432292"/>
            <a:chOff x="0" y="6433849"/>
            <a:chExt cx="9144000" cy="432292"/>
          </a:xfrm>
        </p:grpSpPr>
        <p:pic>
          <p:nvPicPr>
            <p:cNvPr id="14" name="Picture 13"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6" name="TextBox 15"/>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74538682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6_Custom Layout">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Two Photo Slide Header</a:t>
            </a:r>
          </a:p>
        </p:txBody>
      </p:sp>
      <p:sp>
        <p:nvSpPr>
          <p:cNvPr id="11" name="Text Placeholder 10"/>
          <p:cNvSpPr>
            <a:spLocks noGrp="1"/>
          </p:cNvSpPr>
          <p:nvPr>
            <p:ph type="body" sz="quarter" idx="11" hasCustomPrompt="1"/>
          </p:nvPr>
        </p:nvSpPr>
        <p:spPr>
          <a:xfrm>
            <a:off x="6114601" y="1156705"/>
            <a:ext cx="5315755" cy="1247422"/>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r>
              <a:rPr lang="en-US" sz="1050" dirty="0">
                <a:solidFill>
                  <a:srgbClr val="000000"/>
                </a:solidFill>
                <a:latin typeface="Arial"/>
                <a:cs typeface="Arial"/>
              </a:rPr>
              <a:t> magna </a:t>
            </a:r>
            <a:r>
              <a:rPr lang="en-US" sz="1050" dirty="0" err="1">
                <a:solidFill>
                  <a:srgbClr val="000000"/>
                </a:solidFill>
                <a:latin typeface="Arial"/>
                <a:cs typeface="Arial"/>
              </a:rPr>
              <a:t>aliquam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r>
              <a:rPr lang="en-US" sz="1050" dirty="0">
                <a:solidFill>
                  <a:srgbClr val="000000"/>
                </a:solidFill>
                <a:latin typeface="Arial"/>
                <a:cs typeface="Arial"/>
              </a:rPr>
              <a:t> magna </a:t>
            </a:r>
            <a:r>
              <a:rPr lang="en-US" sz="1050" dirty="0" err="1">
                <a:solidFill>
                  <a:srgbClr val="000000"/>
                </a:solidFill>
                <a:latin typeface="Arial"/>
                <a:cs typeface="Arial"/>
              </a:rPr>
              <a:t>aliquam</a:t>
            </a:r>
            <a:r>
              <a:rPr lang="en-US" sz="1050" dirty="0">
                <a:solidFill>
                  <a:srgbClr val="000000"/>
                </a:solidFill>
                <a:latin typeface="Arial"/>
                <a:cs typeface="Arial"/>
              </a:rPr>
              <a:t> </a:t>
            </a:r>
            <a:r>
              <a:rPr lang="en-US" sz="1050" dirty="0" err="1">
                <a:solidFill>
                  <a:srgbClr val="000000"/>
                </a:solidFill>
                <a:latin typeface="Arial"/>
                <a:cs typeface="Arial"/>
              </a:rPr>
              <a:t>erat</a:t>
            </a:r>
            <a:r>
              <a:rPr lang="en-US" sz="1050" dirty="0">
                <a:solidFill>
                  <a:srgbClr val="000000"/>
                </a:solidFill>
                <a:latin typeface="Arial"/>
                <a:cs typeface="Arial"/>
              </a:rPr>
              <a:t> </a:t>
            </a:r>
            <a:r>
              <a:rPr lang="en-US" sz="1050" dirty="0" err="1">
                <a:solidFill>
                  <a:srgbClr val="000000"/>
                </a:solidFill>
                <a:latin typeface="Arial"/>
                <a:cs typeface="Arial"/>
              </a:rPr>
              <a:t>volutpa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wisi</a:t>
            </a:r>
            <a:r>
              <a:rPr lang="en-US" sz="1050" dirty="0">
                <a:solidFill>
                  <a:srgbClr val="000000"/>
                </a:solidFill>
                <a:latin typeface="Arial"/>
                <a:cs typeface="Arial"/>
              </a:rPr>
              <a:t> </a:t>
            </a:r>
            <a:r>
              <a:rPr lang="en-US" sz="1050" dirty="0" err="1">
                <a:solidFill>
                  <a:srgbClr val="000000"/>
                </a:solidFill>
                <a:latin typeface="Arial"/>
                <a:cs typeface="Arial"/>
              </a:rPr>
              <a:t>enim</a:t>
            </a:r>
            <a:r>
              <a:rPr lang="en-US" sz="1050" dirty="0">
                <a:solidFill>
                  <a:srgbClr val="000000"/>
                </a:solidFill>
                <a:latin typeface="Arial"/>
                <a:cs typeface="Arial"/>
              </a:rPr>
              <a:t> ad minim </a:t>
            </a:r>
            <a:r>
              <a:rPr lang="en-US" sz="1050" dirty="0" err="1">
                <a:solidFill>
                  <a:srgbClr val="000000"/>
                </a:solidFill>
                <a:latin typeface="Arial"/>
                <a:cs typeface="Arial"/>
              </a:rPr>
              <a:t>veniam</a:t>
            </a:r>
            <a:r>
              <a:rPr lang="en-US" sz="1050" dirty="0">
                <a:solidFill>
                  <a:srgbClr val="000000"/>
                </a:solidFill>
                <a:latin typeface="Arial"/>
                <a:cs typeface="Arial"/>
              </a:rPr>
              <a:t>, </a:t>
            </a:r>
            <a:r>
              <a:rPr lang="en-US" sz="1050" dirty="0" err="1">
                <a:solidFill>
                  <a:srgbClr val="000000"/>
                </a:solidFill>
                <a:latin typeface="Arial"/>
                <a:cs typeface="Arial"/>
              </a:rPr>
              <a:t>quis</a:t>
            </a:r>
            <a:r>
              <a:rPr lang="en-US" sz="1050" dirty="0">
                <a:solidFill>
                  <a:srgbClr val="000000"/>
                </a:solidFill>
                <a:latin typeface="Arial"/>
                <a:cs typeface="Arial"/>
              </a:rPr>
              <a:t> </a:t>
            </a:r>
            <a:r>
              <a:rPr lang="en-US" sz="1050" dirty="0" err="1">
                <a:solidFill>
                  <a:srgbClr val="000000"/>
                </a:solidFill>
                <a:latin typeface="Arial"/>
                <a:cs typeface="Arial"/>
              </a:rPr>
              <a:t>nostrud</a:t>
            </a:r>
            <a:r>
              <a:rPr lang="en-US" sz="1050" dirty="0">
                <a:solidFill>
                  <a:srgbClr val="000000"/>
                </a:solidFill>
                <a:latin typeface="Arial"/>
                <a:cs typeface="Arial"/>
              </a:rPr>
              <a:t> </a:t>
            </a:r>
            <a:r>
              <a:rPr lang="en-US" sz="1050" dirty="0" err="1">
                <a:solidFill>
                  <a:srgbClr val="000000"/>
                </a:solidFill>
                <a:latin typeface="Arial"/>
                <a:cs typeface="Arial"/>
              </a:rPr>
              <a:t>exerci</a:t>
            </a:r>
            <a:r>
              <a:rPr lang="en-US" sz="1050" dirty="0">
                <a:solidFill>
                  <a:srgbClr val="000000"/>
                </a:solidFill>
                <a:latin typeface="Arial"/>
                <a:cs typeface="Arial"/>
              </a:rPr>
              <a:t> </a:t>
            </a:r>
            <a:r>
              <a:rPr lang="en-US" sz="1050" dirty="0" err="1">
                <a:solidFill>
                  <a:srgbClr val="000000"/>
                </a:solidFill>
                <a:latin typeface="Arial"/>
                <a:cs typeface="Arial"/>
              </a:rPr>
              <a:t>tation</a:t>
            </a:r>
            <a:r>
              <a:rPr lang="en-US" sz="1050" dirty="0">
                <a:solidFill>
                  <a:srgbClr val="000000"/>
                </a:solidFill>
                <a:latin typeface="Arial"/>
                <a:cs typeface="Arial"/>
              </a:rPr>
              <a:t> </a:t>
            </a:r>
            <a:r>
              <a:rPr lang="en-US" sz="1050" dirty="0" err="1">
                <a:solidFill>
                  <a:srgbClr val="000000"/>
                </a:solidFill>
                <a:latin typeface="Arial"/>
                <a:cs typeface="Arial"/>
              </a:rPr>
              <a:t>ullamcorper</a:t>
            </a: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p:txBody>
      </p:sp>
      <p:sp>
        <p:nvSpPr>
          <p:cNvPr id="13" name="Text Placeholder 10"/>
          <p:cNvSpPr>
            <a:spLocks noGrp="1"/>
          </p:cNvSpPr>
          <p:nvPr>
            <p:ph type="body" sz="quarter" idx="12" hasCustomPrompt="1"/>
          </p:nvPr>
        </p:nvSpPr>
        <p:spPr>
          <a:xfrm>
            <a:off x="6106128" y="3611173"/>
            <a:ext cx="5315755" cy="1247422"/>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r>
              <a:rPr lang="en-US" sz="1050" dirty="0">
                <a:solidFill>
                  <a:srgbClr val="000000"/>
                </a:solidFill>
                <a:latin typeface="Arial"/>
                <a:cs typeface="Arial"/>
              </a:rPr>
              <a:t> magna </a:t>
            </a:r>
            <a:r>
              <a:rPr lang="en-US" sz="1050" dirty="0" err="1">
                <a:solidFill>
                  <a:srgbClr val="000000"/>
                </a:solidFill>
                <a:latin typeface="Arial"/>
                <a:cs typeface="Arial"/>
              </a:rPr>
              <a:t>aliquam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r>
              <a:rPr lang="en-US" sz="1050" dirty="0">
                <a:solidFill>
                  <a:srgbClr val="000000"/>
                </a:solidFill>
                <a:latin typeface="Arial"/>
                <a:cs typeface="Arial"/>
              </a:rPr>
              <a:t> magna </a:t>
            </a:r>
            <a:r>
              <a:rPr lang="en-US" sz="1050" dirty="0" err="1">
                <a:solidFill>
                  <a:srgbClr val="000000"/>
                </a:solidFill>
                <a:latin typeface="Arial"/>
                <a:cs typeface="Arial"/>
              </a:rPr>
              <a:t>aliquam</a:t>
            </a:r>
            <a:r>
              <a:rPr lang="en-US" sz="1050" dirty="0">
                <a:solidFill>
                  <a:srgbClr val="000000"/>
                </a:solidFill>
                <a:latin typeface="Arial"/>
                <a:cs typeface="Arial"/>
              </a:rPr>
              <a:t> </a:t>
            </a:r>
            <a:r>
              <a:rPr lang="en-US" sz="1050" dirty="0" err="1">
                <a:solidFill>
                  <a:srgbClr val="000000"/>
                </a:solidFill>
                <a:latin typeface="Arial"/>
                <a:cs typeface="Arial"/>
              </a:rPr>
              <a:t>erat</a:t>
            </a:r>
            <a:r>
              <a:rPr lang="en-US" sz="1050" dirty="0">
                <a:solidFill>
                  <a:srgbClr val="000000"/>
                </a:solidFill>
                <a:latin typeface="Arial"/>
                <a:cs typeface="Arial"/>
              </a:rPr>
              <a:t> </a:t>
            </a:r>
            <a:r>
              <a:rPr lang="en-US" sz="1050" dirty="0" err="1">
                <a:solidFill>
                  <a:srgbClr val="000000"/>
                </a:solidFill>
                <a:latin typeface="Arial"/>
                <a:cs typeface="Arial"/>
              </a:rPr>
              <a:t>volutpa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wisi</a:t>
            </a:r>
            <a:r>
              <a:rPr lang="en-US" sz="1050" dirty="0">
                <a:solidFill>
                  <a:srgbClr val="000000"/>
                </a:solidFill>
                <a:latin typeface="Arial"/>
                <a:cs typeface="Arial"/>
              </a:rPr>
              <a:t> </a:t>
            </a:r>
            <a:r>
              <a:rPr lang="en-US" sz="1050" dirty="0" err="1">
                <a:solidFill>
                  <a:srgbClr val="000000"/>
                </a:solidFill>
                <a:latin typeface="Arial"/>
                <a:cs typeface="Arial"/>
              </a:rPr>
              <a:t>enim</a:t>
            </a:r>
            <a:r>
              <a:rPr lang="en-US" sz="1050" dirty="0">
                <a:solidFill>
                  <a:srgbClr val="000000"/>
                </a:solidFill>
                <a:latin typeface="Arial"/>
                <a:cs typeface="Arial"/>
              </a:rPr>
              <a:t> ad minim </a:t>
            </a:r>
            <a:r>
              <a:rPr lang="en-US" sz="1050" dirty="0" err="1">
                <a:solidFill>
                  <a:srgbClr val="000000"/>
                </a:solidFill>
                <a:latin typeface="Arial"/>
                <a:cs typeface="Arial"/>
              </a:rPr>
              <a:t>veniam</a:t>
            </a:r>
            <a:r>
              <a:rPr lang="en-US" sz="1050" dirty="0">
                <a:solidFill>
                  <a:srgbClr val="000000"/>
                </a:solidFill>
                <a:latin typeface="Arial"/>
                <a:cs typeface="Arial"/>
              </a:rPr>
              <a:t>, </a:t>
            </a:r>
            <a:r>
              <a:rPr lang="en-US" sz="1050" dirty="0" err="1">
                <a:solidFill>
                  <a:srgbClr val="000000"/>
                </a:solidFill>
                <a:latin typeface="Arial"/>
                <a:cs typeface="Arial"/>
              </a:rPr>
              <a:t>quis</a:t>
            </a:r>
            <a:r>
              <a:rPr lang="en-US" sz="1050" dirty="0">
                <a:solidFill>
                  <a:srgbClr val="000000"/>
                </a:solidFill>
                <a:latin typeface="Arial"/>
                <a:cs typeface="Arial"/>
              </a:rPr>
              <a:t> </a:t>
            </a:r>
            <a:r>
              <a:rPr lang="en-US" sz="1050" dirty="0" err="1">
                <a:solidFill>
                  <a:srgbClr val="000000"/>
                </a:solidFill>
                <a:latin typeface="Arial"/>
                <a:cs typeface="Arial"/>
              </a:rPr>
              <a:t>nostrud</a:t>
            </a:r>
            <a:r>
              <a:rPr lang="en-US" sz="1050" dirty="0">
                <a:solidFill>
                  <a:srgbClr val="000000"/>
                </a:solidFill>
                <a:latin typeface="Arial"/>
                <a:cs typeface="Arial"/>
              </a:rPr>
              <a:t> </a:t>
            </a:r>
            <a:r>
              <a:rPr lang="en-US" sz="1050" dirty="0" err="1">
                <a:solidFill>
                  <a:srgbClr val="000000"/>
                </a:solidFill>
                <a:latin typeface="Arial"/>
                <a:cs typeface="Arial"/>
              </a:rPr>
              <a:t>exerci</a:t>
            </a:r>
            <a:r>
              <a:rPr lang="en-US" sz="1050" dirty="0">
                <a:solidFill>
                  <a:srgbClr val="000000"/>
                </a:solidFill>
                <a:latin typeface="Arial"/>
                <a:cs typeface="Arial"/>
              </a:rPr>
              <a:t> </a:t>
            </a:r>
            <a:r>
              <a:rPr lang="en-US" sz="1050" dirty="0" err="1">
                <a:solidFill>
                  <a:srgbClr val="000000"/>
                </a:solidFill>
                <a:latin typeface="Arial"/>
                <a:cs typeface="Arial"/>
              </a:rPr>
              <a:t>tation</a:t>
            </a:r>
            <a:r>
              <a:rPr lang="en-US" sz="1050" dirty="0">
                <a:solidFill>
                  <a:srgbClr val="000000"/>
                </a:solidFill>
                <a:latin typeface="Arial"/>
                <a:cs typeface="Arial"/>
              </a:rPr>
              <a:t> </a:t>
            </a:r>
            <a:r>
              <a:rPr lang="en-US" sz="1050" dirty="0" err="1">
                <a:solidFill>
                  <a:srgbClr val="000000"/>
                </a:solidFill>
                <a:latin typeface="Arial"/>
                <a:cs typeface="Arial"/>
              </a:rPr>
              <a:t>ullamcorper</a:t>
            </a:r>
            <a:endParaRPr lang="en-US" dirty="0"/>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lang="en-US" dirty="0"/>
          </a:p>
        </p:txBody>
      </p:sp>
      <p:sp>
        <p:nvSpPr>
          <p:cNvPr id="9" name="Picture Placeholder 6"/>
          <p:cNvSpPr>
            <a:spLocks noGrp="1"/>
          </p:cNvSpPr>
          <p:nvPr>
            <p:ph type="pic" sz="quarter" idx="15"/>
          </p:nvPr>
        </p:nvSpPr>
        <p:spPr>
          <a:xfrm>
            <a:off x="786217" y="3764957"/>
            <a:ext cx="4944081" cy="1916496"/>
          </a:xfrm>
          <a:prstGeom prst="rect">
            <a:avLst/>
          </a:prstGeom>
        </p:spPr>
        <p:txBody>
          <a:bodyPr vert="horz"/>
          <a:lstStyle>
            <a:lvl1pPr>
              <a:defRPr>
                <a:latin typeface="Arial"/>
              </a:defRPr>
            </a:lvl1pPr>
          </a:lstStyle>
          <a:p>
            <a:endParaRPr lang="en-US" dirty="0"/>
          </a:p>
        </p:txBody>
      </p:sp>
      <p:sp>
        <p:nvSpPr>
          <p:cNvPr id="14" name="Picture Placeholder 6"/>
          <p:cNvSpPr>
            <a:spLocks noGrp="1"/>
          </p:cNvSpPr>
          <p:nvPr>
            <p:ph type="pic" sz="quarter" idx="16"/>
          </p:nvPr>
        </p:nvSpPr>
        <p:spPr>
          <a:xfrm>
            <a:off x="777745" y="1320446"/>
            <a:ext cx="4944081" cy="1916496"/>
          </a:xfrm>
          <a:prstGeom prst="rect">
            <a:avLst/>
          </a:prstGeom>
        </p:spPr>
        <p:txBody>
          <a:bodyPr vert="horz"/>
          <a:lstStyle>
            <a:lvl1pPr>
              <a:defRPr>
                <a:latin typeface="Arial"/>
              </a:defRPr>
            </a:lvl1pPr>
          </a:lstStyle>
          <a:p>
            <a:endParaRPr lang="en-US" dirty="0"/>
          </a:p>
        </p:txBody>
      </p:sp>
      <p:sp>
        <p:nvSpPr>
          <p:cNvPr id="17" name="TextBox 16"/>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16" name="TextBox 15"/>
          <p:cNvSpPr txBox="1"/>
          <p:nvPr userDrawn="1"/>
        </p:nvSpPr>
        <p:spPr>
          <a:xfrm>
            <a:off x="-2116" y="6585888"/>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20" name="TextBox 19"/>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12" name="Group 11"/>
          <p:cNvGrpSpPr/>
          <p:nvPr userDrawn="1"/>
        </p:nvGrpSpPr>
        <p:grpSpPr>
          <a:xfrm>
            <a:off x="0" y="6433849"/>
            <a:ext cx="12192000" cy="432292"/>
            <a:chOff x="0" y="6433849"/>
            <a:chExt cx="9144000" cy="432292"/>
          </a:xfrm>
        </p:grpSpPr>
        <p:pic>
          <p:nvPicPr>
            <p:cNvPr id="15" name="Picture 14"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8" name="TextBox 17"/>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99292517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17_Custom Layout">
    <p:spTree>
      <p:nvGrpSpPr>
        <p:cNvPr id="1" name=""/>
        <p:cNvGrpSpPr/>
        <p:nvPr/>
      </p:nvGrpSpPr>
      <p:grpSpPr>
        <a:xfrm>
          <a:off x="0" y="0"/>
          <a:ext cx="0" cy="0"/>
          <a:chOff x="0" y="0"/>
          <a:chExt cx="0" cy="0"/>
        </a:xfrm>
      </p:grpSpPr>
      <p:sp>
        <p:nvSpPr>
          <p:cNvPr id="14"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Four Photo Slide Header</a:t>
            </a:r>
          </a:p>
        </p:txBody>
      </p:sp>
      <p:sp>
        <p:nvSpPr>
          <p:cNvPr id="15" name="Text Placeholder 10"/>
          <p:cNvSpPr>
            <a:spLocks noGrp="1"/>
          </p:cNvSpPr>
          <p:nvPr>
            <p:ph type="body" sz="quarter" idx="11" hasCustomPrompt="1"/>
          </p:nvPr>
        </p:nvSpPr>
        <p:spPr>
          <a:xfrm>
            <a:off x="671576" y="3061863"/>
            <a:ext cx="4332984" cy="657730"/>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endParaRPr lang="en-US" sz="1050" dirty="0">
              <a:solidFill>
                <a:srgbClr val="000000"/>
              </a:solidFill>
              <a:latin typeface="Arial"/>
              <a:cs typeface="Arial"/>
            </a:endParaRPr>
          </a:p>
        </p:txBody>
      </p:sp>
      <p:sp>
        <p:nvSpPr>
          <p:cNvPr id="16" name="Text Placeholder 10"/>
          <p:cNvSpPr>
            <a:spLocks noGrp="1"/>
          </p:cNvSpPr>
          <p:nvPr>
            <p:ph type="body" sz="quarter" idx="12" hasCustomPrompt="1"/>
          </p:nvPr>
        </p:nvSpPr>
        <p:spPr>
          <a:xfrm>
            <a:off x="6257324" y="3044160"/>
            <a:ext cx="4332984" cy="698114"/>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endParaRPr lang="en-US" sz="1050" dirty="0">
              <a:solidFill>
                <a:srgbClr val="000000"/>
              </a:solidFill>
              <a:latin typeface="Arial"/>
              <a:cs typeface="Arial"/>
            </a:endParaRPr>
          </a:p>
        </p:txBody>
      </p:sp>
      <p:sp>
        <p:nvSpPr>
          <p:cNvPr id="17" name="Text Placeholder 10"/>
          <p:cNvSpPr>
            <a:spLocks noGrp="1"/>
          </p:cNvSpPr>
          <p:nvPr>
            <p:ph type="body" sz="quarter" idx="13" hasCustomPrompt="1"/>
          </p:nvPr>
        </p:nvSpPr>
        <p:spPr>
          <a:xfrm>
            <a:off x="693343" y="5587898"/>
            <a:ext cx="4332984" cy="807988"/>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endParaRPr lang="en-US" sz="1050" dirty="0">
              <a:solidFill>
                <a:srgbClr val="000000"/>
              </a:solidFill>
              <a:latin typeface="Arial"/>
              <a:cs typeface="Arial"/>
            </a:endParaRPr>
          </a:p>
        </p:txBody>
      </p:sp>
      <p:sp>
        <p:nvSpPr>
          <p:cNvPr id="18" name="Text Placeholder 10"/>
          <p:cNvSpPr>
            <a:spLocks noGrp="1"/>
          </p:cNvSpPr>
          <p:nvPr>
            <p:ph type="body" sz="quarter" idx="14" hasCustomPrompt="1"/>
          </p:nvPr>
        </p:nvSpPr>
        <p:spPr>
          <a:xfrm>
            <a:off x="6257324" y="5610578"/>
            <a:ext cx="4332984" cy="796648"/>
          </a:xfrm>
          <a:prstGeom prst="rect">
            <a:avLst/>
          </a:prstGeom>
        </p:spPr>
        <p:txBody>
          <a:bodyPr vert="horz"/>
          <a:lstStyle>
            <a:lvl1pPr marL="0" marR="0" indent="0" algn="l" defTabSz="457200" rtl="0" eaLnBrk="1" fontAlgn="auto" latinLnBrk="0" hangingPunct="1">
              <a:lnSpc>
                <a:spcPct val="150000"/>
              </a:lnSpc>
              <a:spcBef>
                <a:spcPct val="20000"/>
              </a:spcBef>
              <a:spcAft>
                <a:spcPts val="0"/>
              </a:spcAft>
              <a:buClrTx/>
              <a:buSzTx/>
              <a:buFont typeface="Arial"/>
              <a:buNone/>
              <a:tabLst/>
              <a:defRPr sz="1050">
                <a:latin typeface="Gentona Book"/>
                <a:cs typeface="Gentona Book"/>
              </a:defRPr>
            </a:lvl1pPr>
          </a:lstStyle>
          <a:p>
            <a:pPr>
              <a:lnSpc>
                <a:spcPct val="150000"/>
              </a:lnSpc>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r</a:t>
            </a:r>
            <a:r>
              <a:rPr lang="en-US" sz="1050" dirty="0">
                <a:solidFill>
                  <a:srgbClr val="000000"/>
                </a:solidFill>
                <a:latin typeface="Arial"/>
                <a:cs typeface="Arial"/>
              </a:rPr>
              <a:t> </a:t>
            </a:r>
            <a:r>
              <a:rPr lang="en-US" sz="1050" dirty="0" err="1">
                <a:solidFill>
                  <a:srgbClr val="000000"/>
                </a:solidFill>
                <a:latin typeface="Arial"/>
                <a:cs typeface="Arial"/>
              </a:rPr>
              <a:t>adipi.Scing</a:t>
            </a:r>
            <a:r>
              <a:rPr lang="en-US" sz="1050" dirty="0">
                <a:solidFill>
                  <a:srgbClr val="000000"/>
                </a:solidFill>
                <a:latin typeface="Arial"/>
                <a:cs typeface="Arial"/>
              </a:rPr>
              <a:t> </a:t>
            </a:r>
            <a:r>
              <a:rPr lang="en-US" sz="1050" dirty="0" err="1">
                <a:solidFill>
                  <a:srgbClr val="000000"/>
                </a:solidFill>
                <a:latin typeface="Arial"/>
                <a:cs typeface="Arial"/>
              </a:rPr>
              <a:t>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nibh</a:t>
            </a:r>
            <a:r>
              <a:rPr lang="en-US" sz="1050" dirty="0">
                <a:solidFill>
                  <a:srgbClr val="000000"/>
                </a:solidFill>
                <a:latin typeface="Arial"/>
                <a:cs typeface="Arial"/>
              </a:rPr>
              <a:t> </a:t>
            </a:r>
            <a:r>
              <a:rPr lang="en-US" sz="1050" dirty="0" err="1">
                <a:solidFill>
                  <a:srgbClr val="000000"/>
                </a:solidFill>
                <a:latin typeface="Arial"/>
                <a:cs typeface="Arial"/>
              </a:rPr>
              <a:t>euismod</a:t>
            </a:r>
            <a:r>
              <a:rPr lang="en-US" sz="1050" dirty="0">
                <a:solidFill>
                  <a:srgbClr val="000000"/>
                </a:solidFill>
                <a:latin typeface="Arial"/>
                <a:cs typeface="Arial"/>
              </a:rPr>
              <a:t> </a:t>
            </a:r>
            <a:r>
              <a:rPr lang="en-US" sz="1050" dirty="0" err="1">
                <a:solidFill>
                  <a:srgbClr val="000000"/>
                </a:solidFill>
                <a:latin typeface="Arial"/>
                <a:cs typeface="Arial"/>
              </a:rPr>
              <a:t>tincidunt</a:t>
            </a:r>
            <a:r>
              <a:rPr lang="en-US" sz="1050" dirty="0">
                <a:solidFill>
                  <a:srgbClr val="000000"/>
                </a:solidFill>
                <a:latin typeface="Arial"/>
                <a:cs typeface="Arial"/>
              </a:rPr>
              <a:t> </a:t>
            </a:r>
            <a:r>
              <a:rPr lang="en-US" sz="1050" dirty="0" err="1">
                <a:solidFill>
                  <a:srgbClr val="000000"/>
                </a:solidFill>
                <a:latin typeface="Arial"/>
                <a:cs typeface="Arial"/>
              </a:rPr>
              <a:t>ut</a:t>
            </a:r>
            <a:r>
              <a:rPr lang="en-US" sz="1050" dirty="0">
                <a:solidFill>
                  <a:srgbClr val="000000"/>
                </a:solidFill>
                <a:latin typeface="Arial"/>
                <a:cs typeface="Arial"/>
              </a:rPr>
              <a:t> </a:t>
            </a:r>
            <a:r>
              <a:rPr lang="en-US" sz="1050" dirty="0" err="1">
                <a:solidFill>
                  <a:srgbClr val="000000"/>
                </a:solidFill>
                <a:latin typeface="Arial"/>
                <a:cs typeface="Arial"/>
              </a:rPr>
              <a:t>laoreet</a:t>
            </a:r>
            <a:r>
              <a:rPr lang="en-US" sz="1050" dirty="0">
                <a:solidFill>
                  <a:srgbClr val="000000"/>
                </a:solidFill>
                <a:latin typeface="Arial"/>
                <a:cs typeface="Arial"/>
              </a:rPr>
              <a:t> </a:t>
            </a:r>
            <a:r>
              <a:rPr lang="en-US" sz="1050" dirty="0" err="1">
                <a:solidFill>
                  <a:srgbClr val="000000"/>
                </a:solidFill>
                <a:latin typeface="Arial"/>
                <a:cs typeface="Arial"/>
              </a:rPr>
              <a:t>dolore</a:t>
            </a:r>
            <a:endParaRPr lang="en-US" sz="1050" dirty="0">
              <a:solidFill>
                <a:srgbClr val="000000"/>
              </a:solidFill>
              <a:latin typeface="Arial"/>
              <a:cs typeface="Arial"/>
            </a:endParaRPr>
          </a:p>
        </p:txBody>
      </p:sp>
      <p:sp>
        <p:nvSpPr>
          <p:cNvPr id="13" name="Picture Placeholder 6"/>
          <p:cNvSpPr>
            <a:spLocks noGrp="1"/>
          </p:cNvSpPr>
          <p:nvPr>
            <p:ph type="pic" sz="quarter" idx="15"/>
          </p:nvPr>
        </p:nvSpPr>
        <p:spPr>
          <a:xfrm>
            <a:off x="6380437" y="1360830"/>
            <a:ext cx="4293940" cy="1655671"/>
          </a:xfrm>
          <a:prstGeom prst="rect">
            <a:avLst/>
          </a:prstGeom>
        </p:spPr>
        <p:txBody>
          <a:bodyPr vert="horz"/>
          <a:lstStyle>
            <a:lvl1pPr>
              <a:defRPr>
                <a:latin typeface="Arial"/>
              </a:defRPr>
            </a:lvl1pPr>
          </a:lstStyle>
          <a:p>
            <a:endParaRPr lang="en-US" dirty="0"/>
          </a:p>
        </p:txBody>
      </p:sp>
      <p:sp>
        <p:nvSpPr>
          <p:cNvPr id="19" name="Picture Placeholder 6"/>
          <p:cNvSpPr>
            <a:spLocks noGrp="1"/>
          </p:cNvSpPr>
          <p:nvPr>
            <p:ph type="pic" sz="quarter" idx="16"/>
          </p:nvPr>
        </p:nvSpPr>
        <p:spPr>
          <a:xfrm>
            <a:off x="6356845" y="3917357"/>
            <a:ext cx="4293940" cy="1655671"/>
          </a:xfrm>
          <a:prstGeom prst="rect">
            <a:avLst/>
          </a:prstGeom>
        </p:spPr>
        <p:txBody>
          <a:bodyPr vert="horz"/>
          <a:lstStyle>
            <a:lvl1pPr>
              <a:defRPr>
                <a:latin typeface="Arial"/>
              </a:defRPr>
            </a:lvl1pPr>
          </a:lstStyle>
          <a:p>
            <a:endParaRPr lang="en-US" dirty="0"/>
          </a:p>
        </p:txBody>
      </p:sp>
      <p:sp>
        <p:nvSpPr>
          <p:cNvPr id="20" name="Picture Placeholder 6"/>
          <p:cNvSpPr>
            <a:spLocks noGrp="1"/>
          </p:cNvSpPr>
          <p:nvPr>
            <p:ph type="pic" sz="quarter" idx="17"/>
          </p:nvPr>
        </p:nvSpPr>
        <p:spPr>
          <a:xfrm>
            <a:off x="777743" y="1365807"/>
            <a:ext cx="4293940" cy="1655671"/>
          </a:xfrm>
          <a:prstGeom prst="rect">
            <a:avLst/>
          </a:prstGeom>
        </p:spPr>
        <p:txBody>
          <a:bodyPr vert="horz"/>
          <a:lstStyle>
            <a:lvl1pPr>
              <a:defRPr>
                <a:latin typeface="Arial"/>
              </a:defRPr>
            </a:lvl1pPr>
          </a:lstStyle>
          <a:p>
            <a:endParaRPr lang="en-US" dirty="0"/>
          </a:p>
        </p:txBody>
      </p:sp>
      <p:sp>
        <p:nvSpPr>
          <p:cNvPr id="21" name="Picture Placeholder 6"/>
          <p:cNvSpPr>
            <a:spLocks noGrp="1"/>
          </p:cNvSpPr>
          <p:nvPr>
            <p:ph type="pic" sz="quarter" idx="18"/>
          </p:nvPr>
        </p:nvSpPr>
        <p:spPr>
          <a:xfrm>
            <a:off x="792862" y="3906017"/>
            <a:ext cx="4293940" cy="1655671"/>
          </a:xfrm>
          <a:prstGeom prst="rect">
            <a:avLst/>
          </a:prstGeom>
        </p:spPr>
        <p:txBody>
          <a:bodyPr vert="horz"/>
          <a:lstStyle>
            <a:lvl1pPr>
              <a:defRPr>
                <a:latin typeface="Arial"/>
              </a:defRPr>
            </a:lvl1pPr>
          </a:lstStyle>
          <a:p>
            <a:endParaRPr lang="en-US" dirty="0"/>
          </a:p>
        </p:txBody>
      </p:sp>
      <p:sp>
        <p:nvSpPr>
          <p:cNvPr id="26" name="TextBox 25"/>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sp>
        <p:nvSpPr>
          <p:cNvPr id="28" name="TextBox 27"/>
          <p:cNvSpPr txBox="1"/>
          <p:nvPr userDrawn="1"/>
        </p:nvSpPr>
        <p:spPr>
          <a:xfrm>
            <a:off x="3245413" y="6564916"/>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22" name="Group 21"/>
          <p:cNvGrpSpPr/>
          <p:nvPr userDrawn="1"/>
        </p:nvGrpSpPr>
        <p:grpSpPr>
          <a:xfrm>
            <a:off x="0" y="6433849"/>
            <a:ext cx="12192000" cy="432292"/>
            <a:chOff x="0" y="6433849"/>
            <a:chExt cx="9144000" cy="432292"/>
          </a:xfrm>
        </p:grpSpPr>
        <p:pic>
          <p:nvPicPr>
            <p:cNvPr id="23" name="Picture 22"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24" name="TextBox 23"/>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35215385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18_Custom Layout">
    <p:spTree>
      <p:nvGrpSpPr>
        <p:cNvPr id="1" name=""/>
        <p:cNvGrpSpPr/>
        <p:nvPr/>
      </p:nvGrpSpPr>
      <p:grpSpPr>
        <a:xfrm>
          <a:off x="0" y="0"/>
          <a:ext cx="0" cy="0"/>
          <a:chOff x="0" y="0"/>
          <a:chExt cx="0" cy="0"/>
        </a:xfrm>
      </p:grpSpPr>
      <p:sp>
        <p:nvSpPr>
          <p:cNvPr id="18"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Six Photo Slide Header</a:t>
            </a:r>
          </a:p>
        </p:txBody>
      </p:sp>
      <p:sp>
        <p:nvSpPr>
          <p:cNvPr id="19" name="Picture Placeholder 6"/>
          <p:cNvSpPr>
            <a:spLocks noGrp="1"/>
          </p:cNvSpPr>
          <p:nvPr>
            <p:ph type="pic" sz="quarter" idx="13"/>
          </p:nvPr>
        </p:nvSpPr>
        <p:spPr>
          <a:xfrm>
            <a:off x="8306408" y="1378279"/>
            <a:ext cx="2676155" cy="1655671"/>
          </a:xfrm>
          <a:prstGeom prst="rect">
            <a:avLst/>
          </a:prstGeom>
        </p:spPr>
        <p:txBody>
          <a:bodyPr vert="horz"/>
          <a:lstStyle>
            <a:lvl1pPr>
              <a:defRPr>
                <a:latin typeface="Arial"/>
              </a:defRPr>
            </a:lvl1pPr>
          </a:lstStyle>
          <a:p>
            <a:endParaRPr lang="en-US" dirty="0"/>
          </a:p>
        </p:txBody>
      </p:sp>
      <p:sp>
        <p:nvSpPr>
          <p:cNvPr id="20" name="Picture Placeholder 6"/>
          <p:cNvSpPr>
            <a:spLocks noGrp="1"/>
          </p:cNvSpPr>
          <p:nvPr>
            <p:ph type="pic" sz="quarter" idx="14"/>
          </p:nvPr>
        </p:nvSpPr>
        <p:spPr>
          <a:xfrm>
            <a:off x="8312673" y="3784473"/>
            <a:ext cx="2676155" cy="1655671"/>
          </a:xfrm>
          <a:prstGeom prst="rect">
            <a:avLst/>
          </a:prstGeom>
        </p:spPr>
        <p:txBody>
          <a:bodyPr vert="horz"/>
          <a:lstStyle>
            <a:lvl1pPr>
              <a:defRPr>
                <a:latin typeface="Arial"/>
              </a:defRPr>
            </a:lvl1pPr>
          </a:lstStyle>
          <a:p>
            <a:endParaRPr lang="en-US" dirty="0"/>
          </a:p>
        </p:txBody>
      </p:sp>
      <p:sp>
        <p:nvSpPr>
          <p:cNvPr id="21" name="Picture Placeholder 6"/>
          <p:cNvSpPr>
            <a:spLocks noGrp="1"/>
          </p:cNvSpPr>
          <p:nvPr>
            <p:ph type="pic" sz="quarter" idx="15"/>
          </p:nvPr>
        </p:nvSpPr>
        <p:spPr>
          <a:xfrm>
            <a:off x="4621189" y="1385000"/>
            <a:ext cx="2676155" cy="1655671"/>
          </a:xfrm>
          <a:prstGeom prst="rect">
            <a:avLst/>
          </a:prstGeom>
        </p:spPr>
        <p:txBody>
          <a:bodyPr vert="horz"/>
          <a:lstStyle>
            <a:lvl1pPr>
              <a:defRPr>
                <a:latin typeface="Arial"/>
              </a:defRPr>
            </a:lvl1pPr>
          </a:lstStyle>
          <a:p>
            <a:endParaRPr lang="en-US" dirty="0"/>
          </a:p>
        </p:txBody>
      </p:sp>
      <p:sp>
        <p:nvSpPr>
          <p:cNvPr id="22" name="Picture Placeholder 6"/>
          <p:cNvSpPr>
            <a:spLocks noGrp="1"/>
          </p:cNvSpPr>
          <p:nvPr>
            <p:ph type="pic" sz="quarter" idx="16"/>
          </p:nvPr>
        </p:nvSpPr>
        <p:spPr>
          <a:xfrm>
            <a:off x="4649485" y="3795813"/>
            <a:ext cx="2676155" cy="1655671"/>
          </a:xfrm>
          <a:prstGeom prst="rect">
            <a:avLst/>
          </a:prstGeom>
        </p:spPr>
        <p:txBody>
          <a:bodyPr vert="horz"/>
          <a:lstStyle>
            <a:lvl1pPr>
              <a:defRPr>
                <a:latin typeface="Arial"/>
              </a:defRPr>
            </a:lvl1pPr>
          </a:lstStyle>
          <a:p>
            <a:endParaRPr lang="en-US" dirty="0"/>
          </a:p>
        </p:txBody>
      </p:sp>
      <p:sp>
        <p:nvSpPr>
          <p:cNvPr id="23" name="Picture Placeholder 6"/>
          <p:cNvSpPr>
            <a:spLocks noGrp="1"/>
          </p:cNvSpPr>
          <p:nvPr>
            <p:ph type="pic" sz="quarter" idx="17"/>
          </p:nvPr>
        </p:nvSpPr>
        <p:spPr>
          <a:xfrm>
            <a:off x="747504" y="1425995"/>
            <a:ext cx="2676155" cy="1655671"/>
          </a:xfrm>
          <a:prstGeom prst="rect">
            <a:avLst/>
          </a:prstGeom>
        </p:spPr>
        <p:txBody>
          <a:bodyPr vert="horz"/>
          <a:lstStyle>
            <a:lvl1pPr>
              <a:defRPr>
                <a:latin typeface="Arial"/>
              </a:defRPr>
            </a:lvl1pPr>
          </a:lstStyle>
          <a:p>
            <a:endParaRPr lang="en-US" dirty="0"/>
          </a:p>
        </p:txBody>
      </p:sp>
      <p:sp>
        <p:nvSpPr>
          <p:cNvPr id="24" name="Picture Placeholder 6"/>
          <p:cNvSpPr>
            <a:spLocks noGrp="1"/>
          </p:cNvSpPr>
          <p:nvPr>
            <p:ph type="pic" sz="quarter" idx="18"/>
          </p:nvPr>
        </p:nvSpPr>
        <p:spPr>
          <a:xfrm>
            <a:off x="747505" y="3781274"/>
            <a:ext cx="2676155" cy="1655671"/>
          </a:xfrm>
          <a:prstGeom prst="rect">
            <a:avLst/>
          </a:prstGeom>
        </p:spPr>
        <p:txBody>
          <a:bodyPr vert="horz"/>
          <a:lstStyle>
            <a:lvl1pPr>
              <a:defRPr>
                <a:latin typeface="Arial"/>
              </a:defRPr>
            </a:lvl1pPr>
          </a:lstStyle>
          <a:p>
            <a:endParaRPr lang="en-US" dirty="0"/>
          </a:p>
        </p:txBody>
      </p:sp>
      <p:sp>
        <p:nvSpPr>
          <p:cNvPr id="27" name="TextBox 26"/>
          <p:cNvSpPr txBox="1"/>
          <p:nvPr userDrawn="1"/>
        </p:nvSpPr>
        <p:spPr>
          <a:xfrm>
            <a:off x="0" y="6591222"/>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28" name="TextBox 27"/>
          <p:cNvSpPr txBox="1"/>
          <p:nvPr userDrawn="1"/>
        </p:nvSpPr>
        <p:spPr>
          <a:xfrm>
            <a:off x="214267" y="6585920"/>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30" name="Text Placeholder 2"/>
          <p:cNvSpPr>
            <a:spLocks noGrp="1"/>
          </p:cNvSpPr>
          <p:nvPr>
            <p:ph type="body" sz="quarter" idx="19" hasCustomPrompt="1"/>
          </p:nvPr>
        </p:nvSpPr>
        <p:spPr>
          <a:xfrm>
            <a:off x="749288" y="3215326"/>
            <a:ext cx="2713208" cy="43196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radipi.Scing</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31" name="Text Placeholder 2"/>
          <p:cNvSpPr>
            <a:spLocks noGrp="1"/>
          </p:cNvSpPr>
          <p:nvPr>
            <p:ph type="body" sz="quarter" idx="20" hasCustomPrompt="1"/>
          </p:nvPr>
        </p:nvSpPr>
        <p:spPr>
          <a:xfrm>
            <a:off x="4621213" y="3213042"/>
            <a:ext cx="2713208" cy="43196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radipi.Scing</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32" name="Text Placeholder 2"/>
          <p:cNvSpPr>
            <a:spLocks noGrp="1"/>
          </p:cNvSpPr>
          <p:nvPr>
            <p:ph type="body" sz="quarter" idx="21" hasCustomPrompt="1"/>
          </p:nvPr>
        </p:nvSpPr>
        <p:spPr>
          <a:xfrm>
            <a:off x="8282115" y="3190904"/>
            <a:ext cx="2713208" cy="43196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radipi.Scing</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33" name="Text Placeholder 2"/>
          <p:cNvSpPr>
            <a:spLocks noGrp="1"/>
          </p:cNvSpPr>
          <p:nvPr>
            <p:ph type="body" sz="quarter" idx="22" hasCustomPrompt="1"/>
          </p:nvPr>
        </p:nvSpPr>
        <p:spPr>
          <a:xfrm>
            <a:off x="749288" y="5682131"/>
            <a:ext cx="2713208" cy="43196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radipi.Scing</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34" name="Text Placeholder 2"/>
          <p:cNvSpPr>
            <a:spLocks noGrp="1"/>
          </p:cNvSpPr>
          <p:nvPr>
            <p:ph type="body" sz="quarter" idx="23" hasCustomPrompt="1"/>
          </p:nvPr>
        </p:nvSpPr>
        <p:spPr>
          <a:xfrm>
            <a:off x="4624243" y="5673990"/>
            <a:ext cx="2713208" cy="43196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radipi.Scing</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35" name="Text Placeholder 2"/>
          <p:cNvSpPr>
            <a:spLocks noGrp="1"/>
          </p:cNvSpPr>
          <p:nvPr>
            <p:ph type="body" sz="quarter" idx="24" hasCustomPrompt="1"/>
          </p:nvPr>
        </p:nvSpPr>
        <p:spPr>
          <a:xfrm>
            <a:off x="8303823" y="5690272"/>
            <a:ext cx="2713208" cy="431961"/>
          </a:xfrm>
          <a:prstGeom prst="rect">
            <a:avLst/>
          </a:prstGeom>
        </p:spPr>
        <p:txBody>
          <a:bodyPr vert="horz"/>
          <a:lstStyle>
            <a:lvl1pPr marL="0" marR="0" indent="0" algn="l" defTabSz="457200" rtl="0" eaLnBrk="1" fontAlgn="auto" latinLnBrk="0" hangingPunct="1">
              <a:lnSpc>
                <a:spcPct val="100000"/>
              </a:lnSpc>
              <a:spcBef>
                <a:spcPct val="20000"/>
              </a:spcBef>
              <a:spcAft>
                <a:spcPts val="0"/>
              </a:spcAft>
              <a:buClrTx/>
              <a:buSzTx/>
              <a:buFont typeface="Arial"/>
              <a:buNone/>
              <a:tabLst/>
              <a:defRPr sz="1050">
                <a:latin typeface="Arial"/>
                <a:cs typeface="Arial"/>
              </a:defRPr>
            </a:lvl1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r>
              <a:rPr lang="en-US" sz="1050" b="1" dirty="0">
                <a:solidFill>
                  <a:srgbClr val="000000"/>
                </a:solidFill>
                <a:latin typeface="Arial"/>
                <a:cs typeface="Arial"/>
              </a:rPr>
              <a:t>Sit </a:t>
            </a:r>
            <a:r>
              <a:rPr lang="en-US" sz="1050" b="1" dirty="0" err="1">
                <a:solidFill>
                  <a:srgbClr val="000000"/>
                </a:solidFill>
                <a:latin typeface="Arial"/>
                <a:cs typeface="Arial"/>
              </a:rPr>
              <a:t>Amet</a:t>
            </a:r>
            <a:r>
              <a:rPr lang="en-US" sz="1050" dirty="0">
                <a:solidFill>
                  <a:srgbClr val="000000"/>
                </a:solidFill>
                <a:latin typeface="Arial"/>
                <a:cs typeface="Arial"/>
              </a:rPr>
              <a:t>, </a:t>
            </a:r>
            <a:r>
              <a:rPr lang="en-US" sz="1050" dirty="0" err="1">
                <a:solidFill>
                  <a:srgbClr val="000000"/>
                </a:solidFill>
                <a:latin typeface="Arial"/>
                <a:cs typeface="Arial"/>
              </a:rPr>
              <a:t>consectetueelit</a:t>
            </a:r>
            <a:r>
              <a:rPr lang="en-US" sz="1050" dirty="0">
                <a:solidFill>
                  <a:srgbClr val="000000"/>
                </a:solidFill>
                <a:latin typeface="Arial"/>
                <a:cs typeface="Arial"/>
              </a:rPr>
              <a:t>, </a:t>
            </a:r>
            <a:r>
              <a:rPr lang="en-US" sz="1050" dirty="0" err="1">
                <a:solidFill>
                  <a:srgbClr val="000000"/>
                </a:solidFill>
                <a:latin typeface="Arial"/>
                <a:cs typeface="Arial"/>
              </a:rPr>
              <a:t>sed</a:t>
            </a:r>
            <a:r>
              <a:rPr lang="en-US" sz="1050" dirty="0">
                <a:solidFill>
                  <a:srgbClr val="000000"/>
                </a:solidFill>
                <a:latin typeface="Arial"/>
                <a:cs typeface="Arial"/>
              </a:rPr>
              <a:t> </a:t>
            </a:r>
            <a:r>
              <a:rPr lang="en-US" sz="1050" dirty="0" err="1">
                <a:solidFill>
                  <a:srgbClr val="000000"/>
                </a:solidFill>
                <a:latin typeface="Arial"/>
                <a:cs typeface="Arial"/>
              </a:rPr>
              <a:t>diamgfd</a:t>
            </a:r>
            <a:r>
              <a:rPr lang="en-US" sz="1050" dirty="0">
                <a:solidFill>
                  <a:srgbClr val="000000"/>
                </a:solidFill>
                <a:latin typeface="Arial"/>
                <a:cs typeface="Arial"/>
              </a:rPr>
              <a:t> </a:t>
            </a:r>
            <a:r>
              <a:rPr lang="en-US" sz="1050" dirty="0" err="1">
                <a:solidFill>
                  <a:srgbClr val="000000"/>
                </a:solidFill>
                <a:latin typeface="Arial"/>
                <a:cs typeface="Arial"/>
              </a:rPr>
              <a:t>nonummy</a:t>
            </a:r>
            <a:r>
              <a:rPr lang="en-US" sz="1050" dirty="0">
                <a:solidFill>
                  <a:srgbClr val="000000"/>
                </a:solidFill>
                <a:latin typeface="Arial"/>
                <a:cs typeface="Arial"/>
              </a:rPr>
              <a:t> </a:t>
            </a:r>
            <a:r>
              <a:rPr lang="en-US" sz="1050" dirty="0" err="1">
                <a:solidFill>
                  <a:srgbClr val="000000"/>
                </a:solidFill>
                <a:latin typeface="Arial"/>
                <a:cs typeface="Arial"/>
              </a:rPr>
              <a:t>radipi.Scing</a:t>
            </a:r>
            <a:r>
              <a:rPr lang="en-US" sz="1050" dirty="0">
                <a:solidFill>
                  <a:srgbClr val="000000"/>
                </a:solidFill>
                <a:latin typeface="Arial"/>
                <a:cs typeface="Arial"/>
              </a:rPr>
              <a:t> </a:t>
            </a:r>
            <a:br>
              <a:rPr lang="en-US" sz="1050" dirty="0">
                <a:solidFill>
                  <a:srgbClr val="000000"/>
                </a:solidFill>
                <a:latin typeface="Arial"/>
                <a:cs typeface="Arial"/>
              </a:rPr>
            </a:br>
            <a:endParaRPr lang="en-US" dirty="0"/>
          </a:p>
        </p:txBody>
      </p:sp>
      <p:sp>
        <p:nvSpPr>
          <p:cNvPr id="37" name="TextBox 36"/>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25" name="Group 24"/>
          <p:cNvGrpSpPr/>
          <p:nvPr userDrawn="1"/>
        </p:nvGrpSpPr>
        <p:grpSpPr>
          <a:xfrm>
            <a:off x="0" y="6433849"/>
            <a:ext cx="12192000" cy="432292"/>
            <a:chOff x="0" y="6433849"/>
            <a:chExt cx="9144000" cy="432292"/>
          </a:xfrm>
        </p:grpSpPr>
        <p:pic>
          <p:nvPicPr>
            <p:cNvPr id="26" name="Picture 25"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29" name="TextBox 28"/>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373761333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19_Custom Layout">
    <p:spTree>
      <p:nvGrpSpPr>
        <p:cNvPr id="1" name=""/>
        <p:cNvGrpSpPr/>
        <p:nvPr/>
      </p:nvGrpSpPr>
      <p:grpSpPr>
        <a:xfrm>
          <a:off x="0" y="0"/>
          <a:ext cx="0" cy="0"/>
          <a:chOff x="0" y="0"/>
          <a:chExt cx="0" cy="0"/>
        </a:xfrm>
      </p:grpSpPr>
      <p:sp>
        <p:nvSpPr>
          <p:cNvPr id="6" name="TextBox 5"/>
          <p:cNvSpPr txBox="1"/>
          <p:nvPr userDrawn="1"/>
        </p:nvSpPr>
        <p:spPr>
          <a:xfrm>
            <a:off x="433784" y="1108962"/>
            <a:ext cx="10875357" cy="2298849"/>
          </a:xfrm>
          <a:prstGeom prst="rect">
            <a:avLst/>
          </a:prstGeom>
          <a:noFill/>
        </p:spPr>
        <p:txBody>
          <a:bodyPr wrap="square" lIns="82056" tIns="41028" rIns="82056" bIns="41028" rtlCol="0">
            <a:spAutoFit/>
          </a:bodyPr>
          <a:lstStyle/>
          <a:p>
            <a:r>
              <a:rPr lang="en-US" sz="4300" dirty="0">
                <a:solidFill>
                  <a:srgbClr val="002D72"/>
                </a:solidFill>
                <a:latin typeface="Times New Roman"/>
                <a:cs typeface="Times New Roman"/>
              </a:rPr>
              <a:t>Header/Full Bleed Image</a:t>
            </a:r>
            <a:br>
              <a:rPr lang="en-US" sz="4300" dirty="0">
                <a:solidFill>
                  <a:srgbClr val="002D72"/>
                </a:solidFill>
                <a:latin typeface="Times New Roman"/>
                <a:cs typeface="Times New Roman"/>
              </a:rPr>
            </a:br>
            <a:endParaRPr lang="en-US" sz="2900" b="1" dirty="0">
              <a:solidFill>
                <a:srgbClr val="002D72"/>
              </a:solidFill>
              <a:latin typeface="Arial"/>
              <a:cs typeface="Arial"/>
            </a:endParaRPr>
          </a:p>
          <a:p>
            <a:br>
              <a:rPr lang="en-US" sz="4300" dirty="0">
                <a:solidFill>
                  <a:srgbClr val="006949"/>
                </a:solidFill>
                <a:latin typeface="Times New Roman"/>
                <a:cs typeface="Times New Roman"/>
              </a:rPr>
            </a:br>
            <a:endParaRPr lang="en-US" sz="2900" b="1" dirty="0">
              <a:solidFill>
                <a:srgbClr val="000000"/>
              </a:solidFill>
              <a:latin typeface="Arial"/>
              <a:cs typeface="Arial"/>
            </a:endParaRPr>
          </a:p>
        </p:txBody>
      </p:sp>
      <p:sp>
        <p:nvSpPr>
          <p:cNvPr id="7" name="Picture Placeholder 6"/>
          <p:cNvSpPr>
            <a:spLocks noGrp="1"/>
          </p:cNvSpPr>
          <p:nvPr>
            <p:ph type="pic" sz="quarter" idx="13"/>
          </p:nvPr>
        </p:nvSpPr>
        <p:spPr>
          <a:xfrm>
            <a:off x="86194" y="101506"/>
            <a:ext cx="12300540" cy="6456025"/>
          </a:xfrm>
          <a:prstGeom prst="rect">
            <a:avLst/>
          </a:prstGeom>
        </p:spPr>
        <p:txBody>
          <a:bodyPr vert="horz"/>
          <a:lstStyle>
            <a:lvl1pPr>
              <a:defRPr>
                <a:latin typeface="Arial"/>
              </a:defRPr>
            </a:lvl1pPr>
          </a:lstStyle>
          <a:p>
            <a:endParaRPr lang="en-US" dirty="0"/>
          </a:p>
        </p:txBody>
      </p:sp>
    </p:spTree>
    <p:extLst>
      <p:ext uri="{BB962C8B-B14F-4D97-AF65-F5344CB8AC3E}">
        <p14:creationId xmlns:p14="http://schemas.microsoft.com/office/powerpoint/2010/main" val="10148688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20_Custom Layout">
    <p:spTree>
      <p:nvGrpSpPr>
        <p:cNvPr id="1" name=""/>
        <p:cNvGrpSpPr/>
        <p:nvPr/>
      </p:nvGrpSpPr>
      <p:grpSpPr>
        <a:xfrm>
          <a:off x="0" y="0"/>
          <a:ext cx="0" cy="0"/>
          <a:chOff x="0" y="0"/>
          <a:chExt cx="0" cy="0"/>
        </a:xfrm>
      </p:grpSpPr>
      <p:sp>
        <p:nvSpPr>
          <p:cNvPr id="6" name="TextBox 5"/>
          <p:cNvSpPr txBox="1"/>
          <p:nvPr userDrawn="1"/>
        </p:nvSpPr>
        <p:spPr>
          <a:xfrm>
            <a:off x="715994" y="5490983"/>
            <a:ext cx="10875357" cy="744577"/>
          </a:xfrm>
          <a:prstGeom prst="rect">
            <a:avLst/>
          </a:prstGeom>
          <a:noFill/>
        </p:spPr>
        <p:txBody>
          <a:bodyPr wrap="square" lIns="82056" tIns="41028" rIns="82056" bIns="41028" rtlCol="0">
            <a:spAutoFit/>
          </a:bodyPr>
          <a:lstStyle/>
          <a:p>
            <a:r>
              <a:rPr lang="en-US" sz="4300" dirty="0">
                <a:solidFill>
                  <a:schemeClr val="bg1"/>
                </a:solidFill>
                <a:latin typeface="Times New Roman"/>
                <a:cs typeface="Times New Roman"/>
              </a:rPr>
              <a:t>Header/Full Bleed Image</a:t>
            </a:r>
            <a:endParaRPr lang="en-US" sz="2900" b="1" dirty="0">
              <a:solidFill>
                <a:schemeClr val="bg1"/>
              </a:solidFill>
              <a:latin typeface="Arial"/>
              <a:cs typeface="Arial"/>
            </a:endParaRPr>
          </a:p>
        </p:txBody>
      </p:sp>
      <p:sp>
        <p:nvSpPr>
          <p:cNvPr id="7" name="Rectangle 6"/>
          <p:cNvSpPr/>
          <p:nvPr userDrawn="1"/>
        </p:nvSpPr>
        <p:spPr>
          <a:xfrm>
            <a:off x="866495" y="4653355"/>
            <a:ext cx="2774628" cy="683022"/>
          </a:xfrm>
          <a:prstGeom prst="rect">
            <a:avLst/>
          </a:prstGeom>
        </p:spPr>
        <p:txBody>
          <a:bodyPr wrap="square" lIns="82056" tIns="41028" rIns="82056" bIns="41028">
            <a:spAutoFit/>
          </a:bodyPr>
          <a:lstStyle/>
          <a:p>
            <a:r>
              <a:rPr lang="en-US" sz="1300" b="1" dirty="0">
                <a:solidFill>
                  <a:srgbClr val="FFFFFF"/>
                </a:solidFill>
                <a:latin typeface="Arial"/>
                <a:cs typeface="Arial"/>
              </a:rPr>
              <a:t>Name/Subject Subhead </a:t>
            </a:r>
            <a:br>
              <a:rPr lang="en-US" sz="1300" b="1" dirty="0">
                <a:solidFill>
                  <a:srgbClr val="FFFFFF"/>
                </a:solidFill>
                <a:latin typeface="Arial"/>
                <a:cs typeface="Arial"/>
              </a:rPr>
            </a:br>
            <a:r>
              <a:rPr lang="en-US" sz="1300" dirty="0">
                <a:solidFill>
                  <a:srgbClr val="FFFFFF"/>
                </a:solidFill>
                <a:latin typeface="Arial"/>
                <a:cs typeface="Arial"/>
              </a:rPr>
              <a:t>Title/caption</a:t>
            </a:r>
            <a:br>
              <a:rPr lang="en-US" sz="1300" dirty="0">
                <a:solidFill>
                  <a:srgbClr val="FFFFFF"/>
                </a:solidFill>
                <a:latin typeface="Arial"/>
                <a:cs typeface="Arial"/>
              </a:rPr>
            </a:br>
            <a:r>
              <a:rPr lang="en-US" sz="1300" dirty="0">
                <a:solidFill>
                  <a:srgbClr val="FFFFFF"/>
                </a:solidFill>
                <a:latin typeface="Arial"/>
                <a:cs typeface="Arial"/>
              </a:rPr>
              <a:t>Title/caption</a:t>
            </a:r>
          </a:p>
        </p:txBody>
      </p:sp>
      <p:sp>
        <p:nvSpPr>
          <p:cNvPr id="9" name="Picture Placeholder 6"/>
          <p:cNvSpPr>
            <a:spLocks noGrp="1"/>
          </p:cNvSpPr>
          <p:nvPr>
            <p:ph type="pic" sz="quarter" idx="13"/>
          </p:nvPr>
        </p:nvSpPr>
        <p:spPr>
          <a:xfrm>
            <a:off x="1" y="-1"/>
            <a:ext cx="12189884" cy="6858001"/>
          </a:xfrm>
          <a:prstGeom prst="rect">
            <a:avLst/>
          </a:prstGeom>
        </p:spPr>
        <p:txBody>
          <a:bodyPr vert="horz"/>
          <a:lstStyle>
            <a:lvl1pPr>
              <a:defRPr>
                <a:latin typeface="Arial"/>
              </a:defRPr>
            </a:lvl1pPr>
          </a:lstStyle>
          <a:p>
            <a:endParaRPr lang="en-US" dirty="0"/>
          </a:p>
        </p:txBody>
      </p:sp>
      <p:sp>
        <p:nvSpPr>
          <p:cNvPr id="10" name="TextBox 9"/>
          <p:cNvSpPr txBox="1"/>
          <p:nvPr userDrawn="1"/>
        </p:nvSpPr>
        <p:spPr>
          <a:xfrm>
            <a:off x="3245413" y="6570004"/>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sp>
        <p:nvSpPr>
          <p:cNvPr id="12" name="TextBox 11"/>
          <p:cNvSpPr txBox="1"/>
          <p:nvPr userDrawn="1"/>
        </p:nvSpPr>
        <p:spPr>
          <a:xfrm>
            <a:off x="3245413" y="6561863"/>
            <a:ext cx="5644193" cy="200055"/>
          </a:xfrm>
          <a:prstGeom prst="rect">
            <a:avLst/>
          </a:prstGeom>
          <a:noFill/>
        </p:spPr>
        <p:txBody>
          <a:bodyPr wrap="square" rtlCol="0">
            <a:spAutoFit/>
          </a:bodyPr>
          <a:lstStyle/>
          <a:p>
            <a:pPr algn="ctr"/>
            <a:r>
              <a:rPr lang="en-US" sz="700" dirty="0">
                <a:solidFill>
                  <a:schemeClr val="bg1"/>
                </a:solidFill>
                <a:latin typeface="Arial"/>
                <a:cs typeface="Arial"/>
              </a:rPr>
              <a:t>©2015,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nvGrpSpPr>
          <p:cNvPr id="8" name="Group 7"/>
          <p:cNvGrpSpPr/>
          <p:nvPr userDrawn="1"/>
        </p:nvGrpSpPr>
        <p:grpSpPr>
          <a:xfrm>
            <a:off x="0" y="6433849"/>
            <a:ext cx="12192000" cy="432292"/>
            <a:chOff x="0" y="6433849"/>
            <a:chExt cx="9144000" cy="432292"/>
          </a:xfrm>
        </p:grpSpPr>
        <p:pic>
          <p:nvPicPr>
            <p:cNvPr id="13" name="Picture 12"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4" name="TextBox 13"/>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32108202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21_Custom Layout">
    <p:spTree>
      <p:nvGrpSpPr>
        <p:cNvPr id="1" name=""/>
        <p:cNvGrpSpPr/>
        <p:nvPr/>
      </p:nvGrpSpPr>
      <p:grpSpPr>
        <a:xfrm>
          <a:off x="0" y="0"/>
          <a:ext cx="0" cy="0"/>
          <a:chOff x="0" y="0"/>
          <a:chExt cx="0" cy="0"/>
        </a:xfrm>
      </p:grpSpPr>
      <p:sp>
        <p:nvSpPr>
          <p:cNvPr id="5" name="TextBox 4"/>
          <p:cNvSpPr txBox="1"/>
          <p:nvPr userDrawn="1"/>
        </p:nvSpPr>
        <p:spPr>
          <a:xfrm>
            <a:off x="0" y="2198235"/>
            <a:ext cx="12192000" cy="2117260"/>
          </a:xfrm>
          <a:prstGeom prst="rect">
            <a:avLst/>
          </a:prstGeom>
          <a:noFill/>
        </p:spPr>
        <p:txBody>
          <a:bodyPr wrap="square" lIns="82056" tIns="41028" rIns="82056" bIns="41028" rtlCol="0">
            <a:spAutoFit/>
          </a:bodyPr>
          <a:lstStyle/>
          <a:p>
            <a:pPr algn="ctr">
              <a:lnSpc>
                <a:spcPct val="80000"/>
              </a:lnSpc>
            </a:pPr>
            <a:r>
              <a:rPr lang="en-US" sz="4300" b="1" dirty="0">
                <a:solidFill>
                  <a:schemeClr val="tx1"/>
                </a:solidFill>
                <a:latin typeface="Times New Roman"/>
                <a:cs typeface="Times New Roman"/>
              </a:rPr>
              <a:t>Questions?</a:t>
            </a:r>
          </a:p>
          <a:p>
            <a:pPr algn="ctr">
              <a:lnSpc>
                <a:spcPct val="80000"/>
              </a:lnSpc>
            </a:pPr>
            <a:endParaRPr lang="en-US" sz="4300" b="1" dirty="0">
              <a:solidFill>
                <a:schemeClr val="tx1"/>
              </a:solidFill>
              <a:latin typeface="Times New Roman"/>
              <a:cs typeface="Times New Roman"/>
            </a:endParaRPr>
          </a:p>
          <a:p>
            <a:pPr algn="ctr">
              <a:lnSpc>
                <a:spcPct val="80000"/>
              </a:lnSpc>
            </a:pPr>
            <a:r>
              <a:rPr lang="en-US" sz="4300" b="1" dirty="0">
                <a:solidFill>
                  <a:schemeClr val="tx1"/>
                </a:solidFill>
                <a:latin typeface="Times New Roman"/>
                <a:cs typeface="Times New Roman"/>
              </a:rPr>
              <a:t>Thank You!</a:t>
            </a:r>
          </a:p>
          <a:p>
            <a:pPr algn="ctr"/>
            <a:endParaRPr lang="en-US" sz="2900" b="1" dirty="0">
              <a:solidFill>
                <a:srgbClr val="800000"/>
              </a:solidFill>
              <a:latin typeface="Arial"/>
              <a:cs typeface="Arial"/>
            </a:endParaRPr>
          </a:p>
        </p:txBody>
      </p:sp>
      <p:grpSp>
        <p:nvGrpSpPr>
          <p:cNvPr id="8" name="Group 7"/>
          <p:cNvGrpSpPr/>
          <p:nvPr userDrawn="1"/>
        </p:nvGrpSpPr>
        <p:grpSpPr>
          <a:xfrm>
            <a:off x="0" y="6433849"/>
            <a:ext cx="12192000" cy="432292"/>
            <a:chOff x="0" y="6433849"/>
            <a:chExt cx="9144000" cy="432292"/>
          </a:xfrm>
        </p:grpSpPr>
        <p:pic>
          <p:nvPicPr>
            <p:cNvPr id="9" name="Picture 8"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0" name="TextBox 9"/>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4403886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931358013"/>
      </p:ext>
    </p:extLst>
  </p:cSld>
  <p:clrMapOvr>
    <a:masterClrMapping/>
  </p:clrMapOvr>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22_Custom Layout">
    <p:spTree>
      <p:nvGrpSpPr>
        <p:cNvPr id="1" name=""/>
        <p:cNvGrpSpPr/>
        <p:nvPr/>
      </p:nvGrpSpPr>
      <p:grpSpPr>
        <a:xfrm>
          <a:off x="0" y="0"/>
          <a:ext cx="0" cy="0"/>
          <a:chOff x="0" y="0"/>
          <a:chExt cx="0" cy="0"/>
        </a:xfrm>
      </p:grpSpPr>
      <p:sp>
        <p:nvSpPr>
          <p:cNvPr id="4" name="TextBox 3"/>
          <p:cNvSpPr txBox="1"/>
          <p:nvPr userDrawn="1"/>
        </p:nvSpPr>
        <p:spPr>
          <a:xfrm>
            <a:off x="0" y="6615174"/>
            <a:ext cx="12192000" cy="190579"/>
          </a:xfrm>
          <a:prstGeom prst="rect">
            <a:avLst/>
          </a:prstGeom>
          <a:noFill/>
          <a:ln>
            <a:noFill/>
          </a:ln>
        </p:spPr>
        <p:txBody>
          <a:bodyPr wrap="square" lIns="82056" tIns="41028" rIns="82056" bIns="41028" rtlCol="0">
            <a:spAutoFit/>
          </a:bodyPr>
          <a:lstStyle/>
          <a:p>
            <a:pPr algn="ctr" rtl="0"/>
            <a:r>
              <a:rPr lang="en-US" sz="1050" b="0" i="0" u="none" strike="noStrike" kern="1200" baseline="30000" dirty="0">
                <a:solidFill>
                  <a:srgbClr val="FFFFFF"/>
                </a:solidFill>
                <a:latin typeface="Arial"/>
                <a:ea typeface="+mn-ea"/>
                <a:cs typeface="Arial"/>
              </a:rPr>
              <a:t>© 2014, Johns Hopkins University. All rights reserved.</a:t>
            </a:r>
          </a:p>
        </p:txBody>
      </p:sp>
      <p:sp>
        <p:nvSpPr>
          <p:cNvPr id="7" name="Title 1"/>
          <p:cNvSpPr>
            <a:spLocks noGrp="1"/>
          </p:cNvSpPr>
          <p:nvPr>
            <p:ph type="title" hasCustomPrompt="1"/>
          </p:nvPr>
        </p:nvSpPr>
        <p:spPr>
          <a:xfrm>
            <a:off x="629520" y="373275"/>
            <a:ext cx="10972800" cy="1143000"/>
          </a:xfrm>
          <a:prstGeom prst="rect">
            <a:avLst/>
          </a:prstGeom>
        </p:spPr>
        <p:txBody>
          <a:bodyPr vert="horz"/>
          <a:lstStyle>
            <a:lvl1pPr algn="l">
              <a:defRPr b="1">
                <a:solidFill>
                  <a:srgbClr val="14487F"/>
                </a:solidFill>
                <a:latin typeface="Times New Roman"/>
                <a:cs typeface="Times New Roman"/>
              </a:defRPr>
            </a:lvl1pPr>
          </a:lstStyle>
          <a:p>
            <a:r>
              <a:rPr lang="en-US" dirty="0"/>
              <a:t>Contact</a:t>
            </a:r>
          </a:p>
        </p:txBody>
      </p:sp>
      <p:sp>
        <p:nvSpPr>
          <p:cNvPr id="8" name="Text Placeholder 7"/>
          <p:cNvSpPr>
            <a:spLocks noGrp="1"/>
          </p:cNvSpPr>
          <p:nvPr>
            <p:ph type="body" sz="quarter" idx="10" hasCustomPrompt="1"/>
          </p:nvPr>
        </p:nvSpPr>
        <p:spPr>
          <a:xfrm>
            <a:off x="635389" y="1226130"/>
            <a:ext cx="7452891" cy="4096328"/>
          </a:xfrm>
          <a:prstGeom prst="rect">
            <a:avLst/>
          </a:prstGeom>
        </p:spPr>
        <p:txBody>
          <a:bodyPr vert="horz"/>
          <a:lstStyle>
            <a:lvl1pPr marL="0" indent="0">
              <a:lnSpc>
                <a:spcPct val="80000"/>
              </a:lnSpc>
              <a:buNone/>
              <a:defRPr baseline="0">
                <a:latin typeface="Arial"/>
              </a:defRPr>
            </a:lvl1pPr>
          </a:lstStyle>
          <a:p>
            <a:pPr lvl="0"/>
            <a:r>
              <a:rPr lang="en-US" dirty="0"/>
              <a:t>Name</a:t>
            </a:r>
            <a:br>
              <a:rPr lang="en-US" dirty="0"/>
            </a:br>
            <a:r>
              <a:rPr lang="en-US" dirty="0"/>
              <a:t>Title/Position</a:t>
            </a:r>
            <a:br>
              <a:rPr lang="en-US" dirty="0"/>
            </a:br>
            <a:r>
              <a:rPr lang="en-US" dirty="0"/>
              <a:t>Name of Institution</a:t>
            </a:r>
            <a:br>
              <a:rPr lang="en-US" dirty="0"/>
            </a:br>
            <a:r>
              <a:rPr lang="en-US" dirty="0"/>
              <a:t>Address</a:t>
            </a:r>
            <a:br>
              <a:rPr lang="en-US" dirty="0"/>
            </a:br>
            <a:r>
              <a:rPr lang="en-US" dirty="0"/>
              <a:t>City, State 00000</a:t>
            </a:r>
          </a:p>
          <a:p>
            <a:pPr lvl="0"/>
            <a:r>
              <a:rPr lang="en-US" dirty="0"/>
              <a:t>000-000-0000</a:t>
            </a:r>
            <a:br>
              <a:rPr lang="en-US" dirty="0"/>
            </a:br>
            <a:r>
              <a:rPr lang="en-US" dirty="0" err="1"/>
              <a:t>www.jhsph.edu</a:t>
            </a:r>
            <a:endParaRPr lang="en-US" dirty="0"/>
          </a:p>
        </p:txBody>
      </p:sp>
      <p:grpSp>
        <p:nvGrpSpPr>
          <p:cNvPr id="9" name="Group 8"/>
          <p:cNvGrpSpPr/>
          <p:nvPr userDrawn="1"/>
        </p:nvGrpSpPr>
        <p:grpSpPr>
          <a:xfrm>
            <a:off x="0" y="6433849"/>
            <a:ext cx="12192000" cy="432292"/>
            <a:chOff x="0" y="6433849"/>
            <a:chExt cx="9144000" cy="432292"/>
          </a:xfrm>
        </p:grpSpPr>
        <p:pic>
          <p:nvPicPr>
            <p:cNvPr id="10" name="Picture 9" descr="Bloomberg footer.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6433849"/>
              <a:ext cx="9144000" cy="432292"/>
            </a:xfrm>
            <a:prstGeom prst="rect">
              <a:avLst/>
            </a:prstGeom>
          </p:spPr>
        </p:pic>
        <p:sp>
          <p:nvSpPr>
            <p:cNvPr id="11" name="TextBox 10"/>
            <p:cNvSpPr txBox="1"/>
            <p:nvPr userDrawn="1"/>
          </p:nvSpPr>
          <p:spPr>
            <a:xfrm>
              <a:off x="2467925" y="6567886"/>
              <a:ext cx="4233145" cy="200055"/>
            </a:xfrm>
            <a:prstGeom prst="rect">
              <a:avLst/>
            </a:prstGeom>
            <a:noFill/>
          </p:spPr>
          <p:txBody>
            <a:bodyPr wrap="square" rtlCol="0">
              <a:spAutoFit/>
            </a:bodyPr>
            <a:lstStyle/>
            <a:p>
              <a:pPr algn="ctr"/>
              <a:r>
                <a:rPr lang="en-US" sz="700" dirty="0">
                  <a:solidFill>
                    <a:schemeClr val="bg1"/>
                  </a:solidFill>
                  <a:latin typeface="Arial"/>
                  <a:cs typeface="Arial"/>
                </a:rPr>
                <a:t>©2018, Johns Hopkins University. All rights</a:t>
              </a:r>
              <a:r>
                <a:rPr lang="en-US" sz="700" baseline="0" dirty="0">
                  <a:solidFill>
                    <a:schemeClr val="bg1"/>
                  </a:solidFill>
                  <a:latin typeface="Arial"/>
                  <a:cs typeface="Arial"/>
                </a:rPr>
                <a:t> reserved.</a:t>
              </a:r>
              <a:endParaRPr lang="en-US" sz="700" dirty="0">
                <a:solidFill>
                  <a:schemeClr val="bg1"/>
                </a:solidFill>
                <a:latin typeface="Arial"/>
                <a:cs typeface="Arial"/>
              </a:endParaRPr>
            </a:p>
          </p:txBody>
        </p:sp>
      </p:grpSp>
    </p:spTree>
    <p:extLst>
      <p:ext uri="{BB962C8B-B14F-4D97-AF65-F5344CB8AC3E}">
        <p14:creationId xmlns:p14="http://schemas.microsoft.com/office/powerpoint/2010/main" val="116608065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pic>
        <p:nvPicPr>
          <p:cNvPr id="3" name="Picture 2"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1"/>
            <a:ext cx="12319537" cy="6920077"/>
          </a:xfrm>
          <a:prstGeom prst="rect">
            <a:avLst/>
          </a:prstGeom>
        </p:spPr>
      </p:pic>
    </p:spTree>
    <p:extLst>
      <p:ext uri="{BB962C8B-B14F-4D97-AF65-F5344CB8AC3E}">
        <p14:creationId xmlns:p14="http://schemas.microsoft.com/office/powerpoint/2010/main" val="3808978592"/>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005819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632952521"/>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113592575"/>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2415221150"/>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447191" y="804163"/>
            <a:ext cx="9607661" cy="1056319"/>
          </a:xfrm>
        </p:spPr>
        <p:txBody>
          <a:bodyPr/>
          <a:lstStyle/>
          <a:p>
            <a:r>
              <a:rPr lang="en-US"/>
              <a:t>Click to edit Master title style</a:t>
            </a:r>
            <a:endParaRPr lang="en-US" dirty="0"/>
          </a:p>
        </p:txBody>
      </p:sp>
      <p:sp>
        <p:nvSpPr>
          <p:cNvPr id="3" name="Text Placeholder 2"/>
          <p:cNvSpPr>
            <a:spLocks noGrp="1"/>
          </p:cNvSpPr>
          <p:nvPr>
            <p:ph type="body" idx="1"/>
          </p:nvPr>
        </p:nvSpPr>
        <p:spPr>
          <a:xfrm>
            <a:off x="1447191" y="2019549"/>
            <a:ext cx="4645152" cy="801943"/>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447191" y="2824269"/>
            <a:ext cx="4645152" cy="26444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412362" y="2023003"/>
            <a:ext cx="4645152" cy="802237"/>
          </a:xfrm>
        </p:spPr>
        <p:txBody>
          <a:bodyPr anchor="b">
            <a:normAutofit/>
          </a:bodyPr>
          <a:lstStyle>
            <a:lvl1pPr marL="0" indent="0">
              <a:lnSpc>
                <a:spcPct val="100000"/>
              </a:lnSpc>
              <a:buNone/>
              <a:defRPr sz="2200" b="0" cap="all" baseline="0">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12362" y="2821491"/>
            <a:ext cx="4645152" cy="26373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96027F-7875-4030-9381-8BD8C4F21935}" type="datetimeFigureOut">
              <a:rPr lang="en-US" smtClean="0"/>
              <a:t>1/19/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07165E6F-54ED-4977-A15E-D44BE7238A65}" type="slidenum">
              <a:rPr lang="en-US" smtClean="0"/>
              <a:pPr/>
              <a:t>‹#›</a:t>
            </a:fld>
            <a:endParaRPr lang="en-US" dirty="0"/>
          </a:p>
        </p:txBody>
      </p:sp>
    </p:spTree>
    <p:extLst>
      <p:ext uri="{BB962C8B-B14F-4D97-AF65-F5344CB8AC3E}">
        <p14:creationId xmlns:p14="http://schemas.microsoft.com/office/powerpoint/2010/main" val="1003793540"/>
      </p:ext>
    </p:extLst>
  </p:cSld>
  <p:clrMapOvr>
    <a:masterClrMapping/>
  </p:clrMapOvr>
  <p:hf sldNum="0" hdr="0" dt="0"/>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920512763"/>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2_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1381356861"/>
      </p:ext>
    </p:extLst>
  </p:cSld>
  <p:clrMapOvr>
    <a:masterClrMapping/>
  </p:clrMapOvr>
  <p:extLst>
    <p:ext uri="{DCECCB84-F9BA-43D5-87BE-67443E8EF086}">
      <p15:sldGuideLst xmlns:p15="http://schemas.microsoft.com/office/powerpoint/2012/main"/>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516932044"/>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4206883619"/>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_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449379660"/>
      </p:ext>
    </p:extLst>
  </p:cSld>
  <p:clrMapOvr>
    <a:masterClrMapping/>
  </p:clrMapOvr>
  <p:extLst>
    <p:ext uri="{DCECCB84-F9BA-43D5-87BE-67443E8EF086}">
      <p15:sldGuideLst xmlns:p15="http://schemas.microsoft.com/office/powerpoint/2012/main"/>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a:xfrm>
            <a:off x="4038600" y="6356350"/>
            <a:ext cx="4114800" cy="365125"/>
          </a:xfrm>
          <a:prstGeom prst="rect">
            <a:avLst/>
          </a:prstGeom>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991260823"/>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a:xfrm>
            <a:off x="4038600" y="6356350"/>
            <a:ext cx="4114800" cy="365125"/>
          </a:xfrm>
          <a:prstGeom prst="rect">
            <a:avLst/>
          </a:prstGeom>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560019505"/>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2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a:xfrm>
            <a:off x="4038600" y="6356350"/>
            <a:ext cx="4114800" cy="365125"/>
          </a:xfrm>
          <a:prstGeom prst="rect">
            <a:avLst/>
          </a:prstGeom>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92416071"/>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a:xfrm>
            <a:off x="4038600" y="6356350"/>
            <a:ext cx="4114800" cy="365125"/>
          </a:xfrm>
          <a:prstGeom prst="rect">
            <a:avLst/>
          </a:prstGeom>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40653033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4016734725"/>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971607689"/>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530656704"/>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498145518"/>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1475700"/>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7985919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llins Content: 1 column/photo">
    <p:bg>
      <p:bgRef idx="1001">
        <a:schemeClr val="bg1"/>
      </p:bgRef>
    </p:bg>
    <p:spTree>
      <p:nvGrpSpPr>
        <p:cNvPr id="1" name=""/>
        <p:cNvGrpSpPr/>
        <p:nvPr/>
      </p:nvGrpSpPr>
      <p:grpSpPr>
        <a:xfrm>
          <a:off x="0" y="0"/>
          <a:ext cx="0" cy="0"/>
          <a:chOff x="0" y="0"/>
          <a:chExt cx="0" cy="0"/>
        </a:xfrm>
      </p:grpSpPr>
      <p:sp>
        <p:nvSpPr>
          <p:cNvPr id="31" name="Body 1"/>
          <p:cNvSpPr>
            <a:spLocks noGrp="1"/>
          </p:cNvSpPr>
          <p:nvPr>
            <p:ph type="body" sz="quarter" idx="13" hasCustomPrompt="1"/>
          </p:nvPr>
        </p:nvSpPr>
        <p:spPr>
          <a:xfrm>
            <a:off x="696433" y="2251609"/>
            <a:ext cx="3418367" cy="3539591"/>
          </a:xfrm>
          <a:noFill/>
        </p:spPr>
        <p:txBody>
          <a:bodyPr/>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7" hasCustomPrompt="1"/>
          </p:nvPr>
        </p:nvSpPr>
        <p:spPr>
          <a:xfrm>
            <a:off x="4381500" y="1572733"/>
            <a:ext cx="7124700" cy="4218468"/>
          </a:xfrm>
          <a:solidFill>
            <a:schemeClr val="bg2"/>
          </a:solidFill>
        </p:spPr>
        <p:txBody>
          <a:bodyPr tIns="1188720"/>
          <a:lstStyle>
            <a:lvl1pPr marL="0" indent="0" algn="ctr">
              <a:buNone/>
              <a:defRPr/>
            </a:lvl1pPr>
          </a:lstStyle>
          <a:p>
            <a:r>
              <a:rPr lang="en-US" dirty="0"/>
              <a:t>Click to insert photo</a:t>
            </a:r>
          </a:p>
        </p:txBody>
      </p:sp>
      <p:sp>
        <p:nvSpPr>
          <p:cNvPr id="1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9" name="Text Placeholder 2"/>
          <p:cNvSpPr>
            <a:spLocks noGrp="1"/>
          </p:cNvSpPr>
          <p:nvPr>
            <p:ph type="body" sz="quarter" idx="21" hasCustomPrompt="1"/>
          </p:nvPr>
        </p:nvSpPr>
        <p:spPr>
          <a:xfrm>
            <a:off x="695325" y="1572733"/>
            <a:ext cx="3419475" cy="590931"/>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0"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spc="300"/>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8C1C86D5-FAD5-0C48-B07B-53F7036D5DF0}"/>
              </a:ext>
            </a:extLst>
          </p:cNvPr>
          <p:cNvSpPr>
            <a:spLocks noGrp="1"/>
          </p:cNvSpPr>
          <p:nvPr>
            <p:ph type="ftr" sz="quarter" idx="22"/>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88358200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416"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2008402"/>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638338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3"/>
            <a:ext cx="5247571" cy="3723167"/>
          </a:xfrm>
          <a:noFill/>
        </p:spPr>
        <p:txBody>
          <a:bodyPr rIns="182880"/>
          <a:lstStyle>
            <a:lvl1pPr marL="219456"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3" y="2068032"/>
            <a:ext cx="5247167" cy="3723167"/>
          </a:xfrm>
          <a:noFill/>
        </p:spPr>
        <p:txBody>
          <a:bodyPr rIns="182880"/>
          <a:lstStyle>
            <a:lvl1pPr marL="219456"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30167053"/>
      </p:ext>
    </p:extLst>
  </p:cSld>
  <p:clrMapOvr>
    <a:masterClrMapping/>
  </p:clrMapOvr>
  <p:extLst>
    <p:ext uri="{DCECCB84-F9BA-43D5-87BE-67443E8EF086}">
      <p15:sldGuideLst xmlns:p15="http://schemas.microsoft.com/office/powerpoint/2012/main">
        <p15:guide id="1" orient="horz" pos="1296"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llins Content: 3 column">
    <p:spTree>
      <p:nvGrpSpPr>
        <p:cNvPr id="1" name=""/>
        <p:cNvGrpSpPr/>
        <p:nvPr/>
      </p:nvGrpSpPr>
      <p:grpSpPr>
        <a:xfrm>
          <a:off x="0" y="0"/>
          <a:ext cx="0" cy="0"/>
          <a:chOff x="0" y="0"/>
          <a:chExt cx="0" cy="0"/>
        </a:xfrm>
      </p:grpSpPr>
      <p:sp>
        <p:nvSpPr>
          <p:cNvPr id="13" name="Body 3"/>
          <p:cNvSpPr>
            <a:spLocks noGrp="1"/>
          </p:cNvSpPr>
          <p:nvPr>
            <p:ph type="body" sz="quarter" idx="18" hasCustomPrompt="1"/>
          </p:nvPr>
        </p:nvSpPr>
        <p:spPr>
          <a:xfrm>
            <a:off x="8092684" y="2258533"/>
            <a:ext cx="3413515"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ody 2"/>
          <p:cNvSpPr>
            <a:spLocks noGrp="1"/>
          </p:cNvSpPr>
          <p:nvPr>
            <p:ph type="body" sz="quarter" idx="17" hasCustomPrompt="1"/>
          </p:nvPr>
        </p:nvSpPr>
        <p:spPr>
          <a:xfrm>
            <a:off x="4396984" y="2258533"/>
            <a:ext cx="3413516"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2" y="2258533"/>
            <a:ext cx="3418367"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4" name="Text Placeholder 2"/>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ext Placeholder 2"/>
          <p:cNvSpPr>
            <a:spLocks noGrp="1"/>
          </p:cNvSpPr>
          <p:nvPr>
            <p:ph type="body" sz="quarter" idx="23" hasCustomPrompt="1"/>
          </p:nvPr>
        </p:nvSpPr>
        <p:spPr>
          <a:xfrm>
            <a:off x="4364234"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4" hasCustomPrompt="1"/>
          </p:nvPr>
        </p:nvSpPr>
        <p:spPr>
          <a:xfrm>
            <a:off x="8077200"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0325C011-809B-F142-87DD-B50CF52804EA}"/>
              </a:ext>
            </a:extLst>
          </p:cNvPr>
          <p:cNvSpPr>
            <a:spLocks noGrp="1"/>
          </p:cNvSpPr>
          <p:nvPr>
            <p:ph type="ftr" sz="quarter" idx="2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676662776"/>
      </p:ext>
    </p:extLst>
  </p:cSld>
  <p:clrMapOvr>
    <a:masterClrMapping/>
  </p:clrMapOvr>
  <p:extLst>
    <p:ext uri="{DCECCB84-F9BA-43D5-87BE-67443E8EF086}">
      <p15:sldGuideLst xmlns:p15="http://schemas.microsoft.com/office/powerpoint/2012/main">
        <p15:guide id="1" orient="horz" pos="1416"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lins Content: 3 columns/photos">
    <p:spTree>
      <p:nvGrpSpPr>
        <p:cNvPr id="1" name=""/>
        <p:cNvGrpSpPr/>
        <p:nvPr/>
      </p:nvGrpSpPr>
      <p:grpSpPr>
        <a:xfrm>
          <a:off x="0" y="0"/>
          <a:ext cx="0" cy="0"/>
          <a:chOff x="0" y="0"/>
          <a:chExt cx="0" cy="0"/>
        </a:xfrm>
      </p:grpSpPr>
      <p:sp>
        <p:nvSpPr>
          <p:cNvPr id="3" name="Picture Placeholder 2"/>
          <p:cNvSpPr>
            <a:spLocks noGrp="1"/>
          </p:cNvSpPr>
          <p:nvPr>
            <p:ph type="pic" sz="quarter" idx="22" hasCustomPrompt="1"/>
          </p:nvPr>
        </p:nvSpPr>
        <p:spPr>
          <a:xfrm>
            <a:off x="685800" y="1312494"/>
            <a:ext cx="3429000" cy="1829708"/>
          </a:xfrm>
          <a:solidFill>
            <a:schemeClr val="bg2"/>
          </a:solidFill>
        </p:spPr>
        <p:txBody>
          <a:bodyPr tIns="365760"/>
          <a:lstStyle>
            <a:lvl1pPr marL="0" indent="0" algn="ctr">
              <a:buNone/>
              <a:defRPr sz="1800"/>
            </a:lvl1pPr>
          </a:lstStyle>
          <a:p>
            <a:r>
              <a:rPr lang="en-US" dirty="0"/>
              <a:t>Click to insert photo</a:t>
            </a:r>
          </a:p>
        </p:txBody>
      </p:sp>
      <p:sp>
        <p:nvSpPr>
          <p:cNvPr id="20" name="Picture Placeholder 2"/>
          <p:cNvSpPr>
            <a:spLocks noGrp="1"/>
          </p:cNvSpPr>
          <p:nvPr>
            <p:ph type="pic" sz="quarter" idx="23" hasCustomPrompt="1"/>
          </p:nvPr>
        </p:nvSpPr>
        <p:spPr>
          <a:xfrm>
            <a:off x="4381500" y="1312493"/>
            <a:ext cx="3429000" cy="1829709"/>
          </a:xfrm>
          <a:solidFill>
            <a:schemeClr val="bg2"/>
          </a:solidFill>
        </p:spPr>
        <p:txBody>
          <a:bodyPr tIns="365760"/>
          <a:lstStyle>
            <a:lvl1pPr marL="0" indent="0" algn="ctr">
              <a:buNone/>
              <a:defRPr sz="1800" baseline="0"/>
            </a:lvl1pPr>
          </a:lstStyle>
          <a:p>
            <a:r>
              <a:rPr lang="en-US" dirty="0"/>
              <a:t>Click to insert photo</a:t>
            </a:r>
          </a:p>
        </p:txBody>
      </p:sp>
      <p:sp>
        <p:nvSpPr>
          <p:cNvPr id="21" name="Picture Placeholder 2"/>
          <p:cNvSpPr>
            <a:spLocks noGrp="1"/>
          </p:cNvSpPr>
          <p:nvPr>
            <p:ph type="pic" sz="quarter" idx="24" hasCustomPrompt="1"/>
          </p:nvPr>
        </p:nvSpPr>
        <p:spPr>
          <a:xfrm>
            <a:off x="8077200" y="1312494"/>
            <a:ext cx="3429000" cy="1829708"/>
          </a:xfrm>
          <a:solidFill>
            <a:schemeClr val="bg2"/>
          </a:solidFill>
        </p:spPr>
        <p:txBody>
          <a:bodyPr tIns="365760"/>
          <a:lstStyle>
            <a:lvl1pPr marL="0" indent="0" algn="ctr">
              <a:buNone/>
              <a:defRPr sz="1800" baseline="0"/>
            </a:lvl1pPr>
          </a:lstStyle>
          <a:p>
            <a:r>
              <a:rPr lang="en-US" dirty="0"/>
              <a:t>Click to insert photo</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43" name="Body 3"/>
          <p:cNvSpPr>
            <a:spLocks noGrp="1"/>
          </p:cNvSpPr>
          <p:nvPr>
            <p:ph type="body" sz="quarter" idx="18" hasCustomPrompt="1"/>
          </p:nvPr>
        </p:nvSpPr>
        <p:spPr>
          <a:xfrm>
            <a:off x="8077200" y="3897989"/>
            <a:ext cx="3429000" cy="1829708"/>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Body 2"/>
          <p:cNvSpPr>
            <a:spLocks noGrp="1"/>
          </p:cNvSpPr>
          <p:nvPr>
            <p:ph type="body" sz="quarter" idx="17" hasCustomPrompt="1"/>
          </p:nvPr>
        </p:nvSpPr>
        <p:spPr>
          <a:xfrm>
            <a:off x="4381500" y="3897989"/>
            <a:ext cx="3429000" cy="1829709"/>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Body 1"/>
          <p:cNvSpPr>
            <a:spLocks noGrp="1"/>
          </p:cNvSpPr>
          <p:nvPr>
            <p:ph type="body" sz="quarter" idx="13" hasCustomPrompt="1"/>
          </p:nvPr>
        </p:nvSpPr>
        <p:spPr>
          <a:xfrm>
            <a:off x="696433" y="3897990"/>
            <a:ext cx="3418367" cy="1830552"/>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9" name="Text Placeholder 2"/>
          <p:cNvSpPr>
            <a:spLocks noGrp="1"/>
          </p:cNvSpPr>
          <p:nvPr>
            <p:ph type="body" sz="quarter" idx="21" hasCustomPrompt="1"/>
          </p:nvPr>
        </p:nvSpPr>
        <p:spPr>
          <a:xfrm>
            <a:off x="695325"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0" name="Text Placeholder 2"/>
          <p:cNvSpPr>
            <a:spLocks noGrp="1"/>
          </p:cNvSpPr>
          <p:nvPr>
            <p:ph type="body" sz="quarter" idx="26" hasCustomPrompt="1"/>
          </p:nvPr>
        </p:nvSpPr>
        <p:spPr>
          <a:xfrm>
            <a:off x="4364234"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1" name="Text Placeholder 2"/>
          <p:cNvSpPr>
            <a:spLocks noGrp="1"/>
          </p:cNvSpPr>
          <p:nvPr>
            <p:ph type="body" sz="quarter" idx="27" hasCustomPrompt="1"/>
          </p:nvPr>
        </p:nvSpPr>
        <p:spPr>
          <a:xfrm>
            <a:off x="8077200"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22"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2FFE885-255A-DE4B-B7E6-9A98CEBD81FA}"/>
              </a:ext>
            </a:extLst>
          </p:cNvPr>
          <p:cNvSpPr>
            <a:spLocks noGrp="1"/>
          </p:cNvSpPr>
          <p:nvPr>
            <p:ph type="ftr" sz="quarter" idx="2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039996213"/>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lins Content: Text Quad">
    <p:spTree>
      <p:nvGrpSpPr>
        <p:cNvPr id="1" name=""/>
        <p:cNvGrpSpPr/>
        <p:nvPr/>
      </p:nvGrpSpPr>
      <p:grpSpPr>
        <a:xfrm>
          <a:off x="0" y="0"/>
          <a:ext cx="0" cy="0"/>
          <a:chOff x="0" y="0"/>
          <a:chExt cx="0" cy="0"/>
        </a:xfrm>
      </p:grpSpPr>
      <p:sp>
        <p:nvSpPr>
          <p:cNvPr id="14" name="Body 4"/>
          <p:cNvSpPr>
            <a:spLocks noGrp="1"/>
          </p:cNvSpPr>
          <p:nvPr>
            <p:ph type="body" sz="quarter" idx="19" hasCustomPrompt="1"/>
          </p:nvPr>
        </p:nvSpPr>
        <p:spPr>
          <a:xfrm>
            <a:off x="6260431" y="4060048"/>
            <a:ext cx="5257801"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2" name="Body 3"/>
          <p:cNvSpPr>
            <a:spLocks noGrp="1"/>
          </p:cNvSpPr>
          <p:nvPr>
            <p:ph type="body" sz="quarter" idx="17" hasCustomPrompt="1"/>
          </p:nvPr>
        </p:nvSpPr>
        <p:spPr>
          <a:xfrm>
            <a:off x="6260431" y="1922165"/>
            <a:ext cx="5257800"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3" name="Body 2"/>
          <p:cNvSpPr>
            <a:spLocks noGrp="1"/>
          </p:cNvSpPr>
          <p:nvPr>
            <p:ph type="body" sz="quarter" idx="18" hasCustomPrompt="1"/>
          </p:nvPr>
        </p:nvSpPr>
        <p:spPr>
          <a:xfrm>
            <a:off x="697832" y="4060048"/>
            <a:ext cx="5241850"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31" name="Body 1"/>
          <p:cNvSpPr>
            <a:spLocks noGrp="1"/>
          </p:cNvSpPr>
          <p:nvPr>
            <p:ph type="body" sz="quarter" idx="13" hasCustomPrompt="1"/>
          </p:nvPr>
        </p:nvSpPr>
        <p:spPr>
          <a:xfrm>
            <a:off x="698345" y="1922165"/>
            <a:ext cx="5240823"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23"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5" name="Text Placeholder 2"/>
          <p:cNvSpPr>
            <a:spLocks noGrp="1"/>
          </p:cNvSpPr>
          <p:nvPr>
            <p:ph type="body" sz="quarter" idx="21" hasCustomPrompt="1"/>
          </p:nvPr>
        </p:nvSpPr>
        <p:spPr>
          <a:xfrm>
            <a:off x="6271500"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5" hasCustomPrompt="1"/>
          </p:nvPr>
        </p:nvSpPr>
        <p:spPr>
          <a:xfrm>
            <a:off x="699757"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ext Placeholder 2"/>
          <p:cNvSpPr>
            <a:spLocks noGrp="1"/>
          </p:cNvSpPr>
          <p:nvPr>
            <p:ph type="body" sz="quarter" idx="26" hasCustomPrompt="1"/>
          </p:nvPr>
        </p:nvSpPr>
        <p:spPr>
          <a:xfrm>
            <a:off x="6271500"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8" name="Text Placeholder 2"/>
          <p:cNvSpPr>
            <a:spLocks noGrp="1"/>
          </p:cNvSpPr>
          <p:nvPr>
            <p:ph type="body" sz="quarter" idx="27" hasCustomPrompt="1"/>
          </p:nvPr>
        </p:nvSpPr>
        <p:spPr>
          <a:xfrm>
            <a:off x="699757"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21"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7B211ECA-3F10-BA4A-9903-326CCDC73263}"/>
              </a:ext>
            </a:extLst>
          </p:cNvPr>
          <p:cNvSpPr>
            <a:spLocks noGrp="1"/>
          </p:cNvSpPr>
          <p:nvPr>
            <p:ph type="ftr" sz="quarter" idx="2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44522569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4080246419"/>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2292525090"/>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1" y="1535114"/>
            <a:ext cx="5386917"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4" name="Content Placeholder 3"/>
          <p:cNvSpPr>
            <a:spLocks noGrp="1"/>
          </p:cNvSpPr>
          <p:nvPr>
            <p:ph sz="half" idx="2"/>
          </p:nvPr>
        </p:nvSpPr>
        <p:spPr>
          <a:xfrm>
            <a:off x="609601" y="2174875"/>
            <a:ext cx="5386917" cy="3013971"/>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6" name="Content Placeholder 5"/>
          <p:cNvSpPr>
            <a:spLocks noGrp="1"/>
          </p:cNvSpPr>
          <p:nvPr>
            <p:ph sz="quarter" idx="4"/>
          </p:nvPr>
        </p:nvSpPr>
        <p:spPr>
          <a:xfrm>
            <a:off x="6193368" y="2174874"/>
            <a:ext cx="5389033" cy="2921349"/>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xfrm>
            <a:off x="4049037" y="5466718"/>
            <a:ext cx="3860800" cy="244475"/>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762164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llins Cover: Text/Photo">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E59C32A5-B4BB-BB4B-AE67-DCED005C66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72096" y="5526826"/>
            <a:ext cx="3071203" cy="514215"/>
          </a:xfrm>
          <a:prstGeom prst="rect">
            <a:avLst/>
          </a:prstGeom>
        </p:spPr>
      </p:pic>
      <p:sp>
        <p:nvSpPr>
          <p:cNvPr id="12" name="Picture Placeholder 5"/>
          <p:cNvSpPr>
            <a:spLocks noGrp="1"/>
          </p:cNvSpPr>
          <p:nvPr>
            <p:ph type="pic" sz="quarter" idx="16" hasCustomPrompt="1"/>
          </p:nvPr>
        </p:nvSpPr>
        <p:spPr>
          <a:xfrm>
            <a:off x="-7938" y="-23813"/>
            <a:ext cx="12199938" cy="5014913"/>
          </a:xfrm>
          <a:solidFill>
            <a:schemeClr val="accent4"/>
          </a:solidFill>
        </p:spPr>
        <p:txBody>
          <a:bodyPr tIns="365760"/>
          <a:lstStyle>
            <a:lvl1pPr algn="l">
              <a:defRPr b="0">
                <a:solidFill>
                  <a:schemeClr val="bg1"/>
                </a:solidFill>
              </a:defRPr>
            </a:lvl1pPr>
            <a:lvl2pPr marL="400050" marR="0" indent="0" algn="l" defTabSz="914400" rtl="0" eaLnBrk="1" fontAlgn="auto" latinLnBrk="0" hangingPunct="1">
              <a:lnSpc>
                <a:spcPct val="90000"/>
              </a:lnSpc>
              <a:spcBef>
                <a:spcPts val="200"/>
              </a:spcBef>
              <a:spcAft>
                <a:spcPts val="0"/>
              </a:spcAft>
              <a:buClr>
                <a:schemeClr val="tx2"/>
              </a:buClr>
              <a:buSzPct val="100000"/>
              <a:buFont typeface="Arial" panose="020B0604020202020204" pitchFamily="34" charset="0"/>
              <a:buNone/>
              <a:tabLst/>
              <a:defRPr b="0">
                <a:solidFill>
                  <a:schemeClr val="bg1"/>
                </a:solidFill>
              </a:defRPr>
            </a:lvl2pPr>
          </a:lstStyle>
          <a:p>
            <a:pPr marL="230188" indent="-230188">
              <a:buClr>
                <a:schemeClr val="tx2"/>
              </a:buClr>
            </a:pPr>
            <a:r>
              <a:rPr lang="en-US" dirty="0"/>
              <a:t>To add a new cover image to your presentation, use the following steps: 1 -  The new cover image will need to be sized to 1920x1080 and include a white bottom. The white bottom height is 291 pixels. 2 - Choose “New Slide” from the “Home” tab. 3 - Select “Collins Cover: Text &amp; Photo”. 4 - Right click the cover slide thumbnail view and select “Format background”. 5 - Select ”Picture source” and then “Insert” to choose your cover image. 6 - Delete the image box overlay</a:t>
            </a:r>
          </a:p>
          <a:p>
            <a:pPr marL="630238" lvl="1" indent="-230188">
              <a:buClr>
                <a:schemeClr val="tx2"/>
              </a:buClr>
            </a:pPr>
            <a:endParaRPr lang="en-US" dirty="0"/>
          </a:p>
        </p:txBody>
      </p:sp>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200" b="1" baseline="0">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3" name="Footer Placeholder 2">
            <a:extLst>
              <a:ext uri="{FF2B5EF4-FFF2-40B4-BE49-F238E27FC236}">
                <a16:creationId xmlns:a16="http://schemas.microsoft.com/office/drawing/2014/main" id="{99D50E0E-E97D-0A43-A395-AC30E466A054}"/>
              </a:ext>
            </a:extLst>
          </p:cNvPr>
          <p:cNvSpPr>
            <a:spLocks noGrp="1"/>
          </p:cNvSpPr>
          <p:nvPr>
            <p:ph type="ftr" sz="quarter" idx="17"/>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685936706"/>
      </p:ext>
    </p:extLst>
  </p:cSld>
  <p:clrMapOvr>
    <a:masterClrMapping/>
  </p:clrMapOvr>
  <p:extLst>
    <p:ext uri="{DCECCB84-F9BA-43D5-87BE-67443E8EF086}">
      <p15:sldGuideLst xmlns:p15="http://schemas.microsoft.com/office/powerpoint/2012/main">
        <p15:guide id="1" orient="horz" pos="3552" userDrawn="1">
          <p15:clr>
            <a:srgbClr val="FBAE40"/>
          </p15:clr>
        </p15:guide>
        <p15:guide id="2" orient="horz" pos="3144"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ollins Cover: Military - C-130H">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4BFDA5F-0D24-CF41-8117-AC1C5A13E31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sp>
        <p:nvSpPr>
          <p:cNvPr id="9" name="Logo">
            <a:extLst>
              <a:ext uri="{FF2B5EF4-FFF2-40B4-BE49-F238E27FC236}">
                <a16:creationId xmlns:a16="http://schemas.microsoft.com/office/drawing/2014/main" id="{FB6B4263-0223-C444-A148-BC527D99CBD1}"/>
              </a:ext>
            </a:extLst>
          </p:cNvPr>
          <p:cNvSpPr>
            <a:spLocks noChangeAspect="1" noEditPoints="1"/>
          </p:cNvSpPr>
          <p:nvPr userDrawn="1"/>
        </p:nvSpPr>
        <p:spPr bwMode="auto">
          <a:xfrm>
            <a:off x="472097" y="5520829"/>
            <a:ext cx="3071203" cy="520212"/>
          </a:xfrm>
          <a:custGeom>
            <a:avLst/>
            <a:gdLst>
              <a:gd name="T0" fmla="*/ 1871 w 1887"/>
              <a:gd name="T1" fmla="*/ 204 h 319"/>
              <a:gd name="T2" fmla="*/ 1811 w 1887"/>
              <a:gd name="T3" fmla="*/ 126 h 319"/>
              <a:gd name="T4" fmla="*/ 1886 w 1887"/>
              <a:gd name="T5" fmla="*/ 168 h 319"/>
              <a:gd name="T6" fmla="*/ 1779 w 1887"/>
              <a:gd name="T7" fmla="*/ 204 h 319"/>
              <a:gd name="T8" fmla="*/ 1728 w 1887"/>
              <a:gd name="T9" fmla="*/ 126 h 319"/>
              <a:gd name="T10" fmla="*/ 1751 w 1887"/>
              <a:gd name="T11" fmla="*/ 146 h 319"/>
              <a:gd name="T12" fmla="*/ 1656 w 1887"/>
              <a:gd name="T13" fmla="*/ 179 h 319"/>
              <a:gd name="T14" fmla="*/ 1643 w 1887"/>
              <a:gd name="T15" fmla="*/ 174 h 319"/>
              <a:gd name="T16" fmla="*/ 1611 w 1887"/>
              <a:gd name="T17" fmla="*/ 141 h 319"/>
              <a:gd name="T18" fmla="*/ 1703 w 1887"/>
              <a:gd name="T19" fmla="*/ 115 h 319"/>
              <a:gd name="T20" fmla="*/ 1562 w 1887"/>
              <a:gd name="T21" fmla="*/ 174 h 319"/>
              <a:gd name="T22" fmla="*/ 1549 w 1887"/>
              <a:gd name="T23" fmla="*/ 179 h 319"/>
              <a:gd name="T24" fmla="*/ 1587 w 1887"/>
              <a:gd name="T25" fmla="*/ 126 h 319"/>
              <a:gd name="T26" fmla="*/ 1543 w 1887"/>
              <a:gd name="T27" fmla="*/ 204 h 319"/>
              <a:gd name="T28" fmla="*/ 1448 w 1887"/>
              <a:gd name="T29" fmla="*/ 145 h 319"/>
              <a:gd name="T30" fmla="*/ 1414 w 1887"/>
              <a:gd name="T31" fmla="*/ 198 h 319"/>
              <a:gd name="T32" fmla="*/ 1452 w 1887"/>
              <a:gd name="T33" fmla="*/ 173 h 319"/>
              <a:gd name="T34" fmla="*/ 1453 w 1887"/>
              <a:gd name="T35" fmla="*/ 113 h 319"/>
              <a:gd name="T36" fmla="*/ 1370 w 1887"/>
              <a:gd name="T37" fmla="*/ 175 h 319"/>
              <a:gd name="T38" fmla="*/ 1356 w 1887"/>
              <a:gd name="T39" fmla="*/ 181 h 319"/>
              <a:gd name="T40" fmla="*/ 1321 w 1887"/>
              <a:gd name="T41" fmla="*/ 126 h 319"/>
              <a:gd name="T42" fmla="*/ 1401 w 1887"/>
              <a:gd name="T43" fmla="*/ 178 h 319"/>
              <a:gd name="T44" fmla="*/ 1278 w 1887"/>
              <a:gd name="T45" fmla="*/ 118 h 319"/>
              <a:gd name="T46" fmla="*/ 1270 w 1887"/>
              <a:gd name="T47" fmla="*/ 204 h 319"/>
              <a:gd name="T48" fmla="*/ 1195 w 1887"/>
              <a:gd name="T49" fmla="*/ 150 h 319"/>
              <a:gd name="T50" fmla="*/ 1134 w 1887"/>
              <a:gd name="T51" fmla="*/ 160 h 319"/>
              <a:gd name="T52" fmla="*/ 1221 w 1887"/>
              <a:gd name="T53" fmla="*/ 138 h 319"/>
              <a:gd name="T54" fmla="*/ 1224 w 1887"/>
              <a:gd name="T55" fmla="*/ 197 h 319"/>
              <a:gd name="T56" fmla="*/ 1133 w 1887"/>
              <a:gd name="T57" fmla="*/ 204 h 319"/>
              <a:gd name="T58" fmla="*/ 921 w 1887"/>
              <a:gd name="T59" fmla="*/ 135 h 319"/>
              <a:gd name="T60" fmla="*/ 915 w 1887"/>
              <a:gd name="T61" fmla="*/ 207 h 319"/>
              <a:gd name="T62" fmla="*/ 924 w 1887"/>
              <a:gd name="T63" fmla="*/ 176 h 319"/>
              <a:gd name="T64" fmla="*/ 881 w 1887"/>
              <a:gd name="T65" fmla="*/ 141 h 319"/>
              <a:gd name="T66" fmla="*/ 921 w 1887"/>
              <a:gd name="T67" fmla="*/ 135 h 319"/>
              <a:gd name="T68" fmla="*/ 866 w 1887"/>
              <a:gd name="T69" fmla="*/ 150 h 319"/>
              <a:gd name="T70" fmla="*/ 810 w 1887"/>
              <a:gd name="T71" fmla="*/ 204 h 319"/>
              <a:gd name="T72" fmla="*/ 729 w 1887"/>
              <a:gd name="T73" fmla="*/ 115 h 319"/>
              <a:gd name="T74" fmla="*/ 762 w 1887"/>
              <a:gd name="T75" fmla="*/ 85 h 319"/>
              <a:gd name="T76" fmla="*/ 676 w 1887"/>
              <a:gd name="T77" fmla="*/ 73 h 319"/>
              <a:gd name="T78" fmla="*/ 578 w 1887"/>
              <a:gd name="T79" fmla="*/ 175 h 319"/>
              <a:gd name="T80" fmla="*/ 564 w 1887"/>
              <a:gd name="T81" fmla="*/ 181 h 319"/>
              <a:gd name="T82" fmla="*/ 529 w 1887"/>
              <a:gd name="T83" fmla="*/ 125 h 319"/>
              <a:gd name="T84" fmla="*/ 609 w 1887"/>
              <a:gd name="T85" fmla="*/ 178 h 319"/>
              <a:gd name="T86" fmla="*/ 432 w 1887"/>
              <a:gd name="T87" fmla="*/ 201 h 319"/>
              <a:gd name="T88" fmla="*/ 464 w 1887"/>
              <a:gd name="T89" fmla="*/ 72 h 319"/>
              <a:gd name="T90" fmla="*/ 480 w 1887"/>
              <a:gd name="T91" fmla="*/ 104 h 319"/>
              <a:gd name="T92" fmla="*/ 449 w 1887"/>
              <a:gd name="T93" fmla="*/ 173 h 319"/>
              <a:gd name="T94" fmla="*/ 154 w 1887"/>
              <a:gd name="T95" fmla="*/ 95 h 319"/>
              <a:gd name="T96" fmla="*/ 122 w 1887"/>
              <a:gd name="T97" fmla="*/ 107 h 319"/>
              <a:gd name="T98" fmla="*/ 95 w 1887"/>
              <a:gd name="T99" fmla="*/ 160 h 319"/>
              <a:gd name="T100" fmla="*/ 30 w 1887"/>
              <a:gd name="T101" fmla="*/ 253 h 319"/>
              <a:gd name="T102" fmla="*/ 146 w 1887"/>
              <a:gd name="T103" fmla="*/ 319 h 319"/>
              <a:gd name="T104" fmla="*/ 220 w 1887"/>
              <a:gd name="T105" fmla="*/ 231 h 319"/>
              <a:gd name="T106" fmla="*/ 318 w 1887"/>
              <a:gd name="T107" fmla="*/ 177 h 319"/>
              <a:gd name="T108" fmla="*/ 13 w 1887"/>
              <a:gd name="T109" fmla="*/ 96 h 319"/>
              <a:gd name="T110" fmla="*/ 280 w 1887"/>
              <a:gd name="T111" fmla="*/ 54 h 319"/>
              <a:gd name="T112" fmla="*/ 42 w 1887"/>
              <a:gd name="T113" fmla="*/ 50 h 319"/>
              <a:gd name="T114" fmla="*/ 183 w 1887"/>
              <a:gd name="T11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7" h="319">
                <a:moveTo>
                  <a:pt x="1859" y="150"/>
                </a:moveTo>
                <a:cubicBezTo>
                  <a:pt x="1858" y="145"/>
                  <a:pt x="1856" y="142"/>
                  <a:pt x="1854" y="139"/>
                </a:cubicBezTo>
                <a:cubicBezTo>
                  <a:pt x="1851" y="136"/>
                  <a:pt x="1848" y="135"/>
                  <a:pt x="1844" y="135"/>
                </a:cubicBezTo>
                <a:cubicBezTo>
                  <a:pt x="1835" y="135"/>
                  <a:pt x="1830" y="140"/>
                  <a:pt x="1828" y="150"/>
                </a:cubicBezTo>
                <a:lnTo>
                  <a:pt x="1859" y="150"/>
                </a:lnTo>
                <a:close/>
                <a:moveTo>
                  <a:pt x="1887" y="197"/>
                </a:moveTo>
                <a:cubicBezTo>
                  <a:pt x="1883" y="200"/>
                  <a:pt x="1877" y="203"/>
                  <a:pt x="1871" y="204"/>
                </a:cubicBezTo>
                <a:cubicBezTo>
                  <a:pt x="1865" y="206"/>
                  <a:pt x="1858" y="207"/>
                  <a:pt x="1851" y="207"/>
                </a:cubicBezTo>
                <a:cubicBezTo>
                  <a:pt x="1843" y="207"/>
                  <a:pt x="1835" y="206"/>
                  <a:pt x="1829" y="203"/>
                </a:cubicBezTo>
                <a:cubicBezTo>
                  <a:pt x="1822" y="201"/>
                  <a:pt x="1817" y="198"/>
                  <a:pt x="1812" y="194"/>
                </a:cubicBezTo>
                <a:cubicBezTo>
                  <a:pt x="1807" y="190"/>
                  <a:pt x="1804" y="185"/>
                  <a:pt x="1801" y="179"/>
                </a:cubicBezTo>
                <a:cubicBezTo>
                  <a:pt x="1799" y="173"/>
                  <a:pt x="1798" y="167"/>
                  <a:pt x="1798" y="160"/>
                </a:cubicBezTo>
                <a:cubicBezTo>
                  <a:pt x="1798" y="153"/>
                  <a:pt x="1799" y="146"/>
                  <a:pt x="1801" y="141"/>
                </a:cubicBezTo>
                <a:cubicBezTo>
                  <a:pt x="1803" y="135"/>
                  <a:pt x="1806" y="130"/>
                  <a:pt x="1811" y="126"/>
                </a:cubicBezTo>
                <a:cubicBezTo>
                  <a:pt x="1815" y="122"/>
                  <a:pt x="1820" y="118"/>
                  <a:pt x="1825" y="116"/>
                </a:cubicBezTo>
                <a:cubicBezTo>
                  <a:pt x="1831" y="114"/>
                  <a:pt x="1837" y="113"/>
                  <a:pt x="1844" y="113"/>
                </a:cubicBezTo>
                <a:cubicBezTo>
                  <a:pt x="1851" y="113"/>
                  <a:pt x="1857" y="114"/>
                  <a:pt x="1862" y="116"/>
                </a:cubicBezTo>
                <a:cubicBezTo>
                  <a:pt x="1867" y="118"/>
                  <a:pt x="1872" y="121"/>
                  <a:pt x="1876" y="125"/>
                </a:cubicBezTo>
                <a:cubicBezTo>
                  <a:pt x="1880" y="128"/>
                  <a:pt x="1882" y="133"/>
                  <a:pt x="1884" y="138"/>
                </a:cubicBezTo>
                <a:cubicBezTo>
                  <a:pt x="1886" y="144"/>
                  <a:pt x="1887" y="150"/>
                  <a:pt x="1887" y="157"/>
                </a:cubicBezTo>
                <a:cubicBezTo>
                  <a:pt x="1887" y="161"/>
                  <a:pt x="1887" y="165"/>
                  <a:pt x="1886" y="168"/>
                </a:cubicBezTo>
                <a:cubicBezTo>
                  <a:pt x="1828" y="168"/>
                  <a:pt x="1828" y="168"/>
                  <a:pt x="1828" y="168"/>
                </a:cubicBezTo>
                <a:cubicBezTo>
                  <a:pt x="1831" y="178"/>
                  <a:pt x="1840" y="183"/>
                  <a:pt x="1854" y="183"/>
                </a:cubicBezTo>
                <a:cubicBezTo>
                  <a:pt x="1858" y="183"/>
                  <a:pt x="1862" y="182"/>
                  <a:pt x="1866" y="181"/>
                </a:cubicBezTo>
                <a:cubicBezTo>
                  <a:pt x="1870" y="180"/>
                  <a:pt x="1874" y="179"/>
                  <a:pt x="1877" y="178"/>
                </a:cubicBezTo>
                <a:lnTo>
                  <a:pt x="1887" y="197"/>
                </a:lnTo>
                <a:close/>
                <a:moveTo>
                  <a:pt x="1794" y="198"/>
                </a:moveTo>
                <a:cubicBezTo>
                  <a:pt x="1790" y="201"/>
                  <a:pt x="1785" y="203"/>
                  <a:pt x="1779" y="204"/>
                </a:cubicBezTo>
                <a:cubicBezTo>
                  <a:pt x="1774" y="206"/>
                  <a:pt x="1769" y="206"/>
                  <a:pt x="1763" y="206"/>
                </a:cubicBezTo>
                <a:cubicBezTo>
                  <a:pt x="1755" y="206"/>
                  <a:pt x="1748" y="205"/>
                  <a:pt x="1742" y="203"/>
                </a:cubicBezTo>
                <a:cubicBezTo>
                  <a:pt x="1736" y="201"/>
                  <a:pt x="1731" y="198"/>
                  <a:pt x="1727" y="194"/>
                </a:cubicBezTo>
                <a:cubicBezTo>
                  <a:pt x="1723" y="190"/>
                  <a:pt x="1719" y="185"/>
                  <a:pt x="1717" y="179"/>
                </a:cubicBezTo>
                <a:cubicBezTo>
                  <a:pt x="1715" y="173"/>
                  <a:pt x="1714" y="167"/>
                  <a:pt x="1714" y="160"/>
                </a:cubicBezTo>
                <a:cubicBezTo>
                  <a:pt x="1714" y="153"/>
                  <a:pt x="1715" y="147"/>
                  <a:pt x="1718" y="141"/>
                </a:cubicBezTo>
                <a:cubicBezTo>
                  <a:pt x="1720" y="135"/>
                  <a:pt x="1723" y="130"/>
                  <a:pt x="1728" y="126"/>
                </a:cubicBezTo>
                <a:cubicBezTo>
                  <a:pt x="1732" y="122"/>
                  <a:pt x="1737" y="119"/>
                  <a:pt x="1743" y="116"/>
                </a:cubicBezTo>
                <a:cubicBezTo>
                  <a:pt x="1749" y="114"/>
                  <a:pt x="1756" y="113"/>
                  <a:pt x="1763" y="113"/>
                </a:cubicBezTo>
                <a:cubicBezTo>
                  <a:pt x="1773" y="113"/>
                  <a:pt x="1781" y="115"/>
                  <a:pt x="1788" y="118"/>
                </a:cubicBezTo>
                <a:cubicBezTo>
                  <a:pt x="1784" y="144"/>
                  <a:pt x="1784" y="144"/>
                  <a:pt x="1784" y="144"/>
                </a:cubicBezTo>
                <a:cubicBezTo>
                  <a:pt x="1782" y="143"/>
                  <a:pt x="1779" y="142"/>
                  <a:pt x="1775" y="141"/>
                </a:cubicBezTo>
                <a:cubicBezTo>
                  <a:pt x="1772" y="141"/>
                  <a:pt x="1769" y="140"/>
                  <a:pt x="1767" y="140"/>
                </a:cubicBezTo>
                <a:cubicBezTo>
                  <a:pt x="1760" y="140"/>
                  <a:pt x="1755" y="142"/>
                  <a:pt x="1751" y="146"/>
                </a:cubicBezTo>
                <a:cubicBezTo>
                  <a:pt x="1747" y="149"/>
                  <a:pt x="1745" y="154"/>
                  <a:pt x="1745" y="160"/>
                </a:cubicBezTo>
                <a:cubicBezTo>
                  <a:pt x="1745" y="166"/>
                  <a:pt x="1747" y="170"/>
                  <a:pt x="1751" y="174"/>
                </a:cubicBezTo>
                <a:cubicBezTo>
                  <a:pt x="1755" y="177"/>
                  <a:pt x="1760" y="179"/>
                  <a:pt x="1767" y="179"/>
                </a:cubicBezTo>
                <a:cubicBezTo>
                  <a:pt x="1770" y="179"/>
                  <a:pt x="1772" y="179"/>
                  <a:pt x="1775" y="178"/>
                </a:cubicBezTo>
                <a:cubicBezTo>
                  <a:pt x="1778" y="178"/>
                  <a:pt x="1780" y="177"/>
                  <a:pt x="1782" y="176"/>
                </a:cubicBezTo>
                <a:lnTo>
                  <a:pt x="1794" y="198"/>
                </a:lnTo>
                <a:close/>
                <a:moveTo>
                  <a:pt x="1656" y="179"/>
                </a:moveTo>
                <a:cubicBezTo>
                  <a:pt x="1662" y="179"/>
                  <a:pt x="1666" y="177"/>
                  <a:pt x="1669" y="174"/>
                </a:cubicBezTo>
                <a:cubicBezTo>
                  <a:pt x="1673" y="170"/>
                  <a:pt x="1674" y="165"/>
                  <a:pt x="1674" y="160"/>
                </a:cubicBezTo>
                <a:cubicBezTo>
                  <a:pt x="1674" y="154"/>
                  <a:pt x="1673" y="149"/>
                  <a:pt x="1669" y="145"/>
                </a:cubicBezTo>
                <a:cubicBezTo>
                  <a:pt x="1666" y="142"/>
                  <a:pt x="1662" y="140"/>
                  <a:pt x="1656" y="140"/>
                </a:cubicBezTo>
                <a:cubicBezTo>
                  <a:pt x="1651" y="140"/>
                  <a:pt x="1647" y="142"/>
                  <a:pt x="1643" y="145"/>
                </a:cubicBezTo>
                <a:cubicBezTo>
                  <a:pt x="1640" y="149"/>
                  <a:pt x="1638" y="154"/>
                  <a:pt x="1638" y="160"/>
                </a:cubicBezTo>
                <a:cubicBezTo>
                  <a:pt x="1638" y="165"/>
                  <a:pt x="1640" y="170"/>
                  <a:pt x="1643" y="174"/>
                </a:cubicBezTo>
                <a:cubicBezTo>
                  <a:pt x="1647" y="177"/>
                  <a:pt x="1651" y="179"/>
                  <a:pt x="1656" y="179"/>
                </a:cubicBezTo>
                <a:moveTo>
                  <a:pt x="1648" y="207"/>
                </a:moveTo>
                <a:cubicBezTo>
                  <a:pt x="1642" y="207"/>
                  <a:pt x="1637" y="206"/>
                  <a:pt x="1632" y="203"/>
                </a:cubicBezTo>
                <a:cubicBezTo>
                  <a:pt x="1627" y="201"/>
                  <a:pt x="1622" y="198"/>
                  <a:pt x="1619" y="194"/>
                </a:cubicBezTo>
                <a:cubicBezTo>
                  <a:pt x="1615" y="189"/>
                  <a:pt x="1613" y="185"/>
                  <a:pt x="1611" y="179"/>
                </a:cubicBezTo>
                <a:cubicBezTo>
                  <a:pt x="1609" y="173"/>
                  <a:pt x="1608" y="167"/>
                  <a:pt x="1608" y="160"/>
                </a:cubicBezTo>
                <a:cubicBezTo>
                  <a:pt x="1608" y="153"/>
                  <a:pt x="1609" y="147"/>
                  <a:pt x="1611" y="141"/>
                </a:cubicBezTo>
                <a:cubicBezTo>
                  <a:pt x="1613" y="135"/>
                  <a:pt x="1616" y="130"/>
                  <a:pt x="1619" y="126"/>
                </a:cubicBezTo>
                <a:cubicBezTo>
                  <a:pt x="1623" y="122"/>
                  <a:pt x="1627" y="119"/>
                  <a:pt x="1633" y="116"/>
                </a:cubicBezTo>
                <a:cubicBezTo>
                  <a:pt x="1638" y="114"/>
                  <a:pt x="1643" y="113"/>
                  <a:pt x="1649" y="113"/>
                </a:cubicBezTo>
                <a:cubicBezTo>
                  <a:pt x="1654" y="113"/>
                  <a:pt x="1659" y="114"/>
                  <a:pt x="1663" y="116"/>
                </a:cubicBezTo>
                <a:cubicBezTo>
                  <a:pt x="1668" y="118"/>
                  <a:pt x="1671" y="122"/>
                  <a:pt x="1674" y="126"/>
                </a:cubicBezTo>
                <a:cubicBezTo>
                  <a:pt x="1674" y="115"/>
                  <a:pt x="1674" y="115"/>
                  <a:pt x="1674" y="115"/>
                </a:cubicBezTo>
                <a:cubicBezTo>
                  <a:pt x="1703" y="115"/>
                  <a:pt x="1703" y="115"/>
                  <a:pt x="1703" y="115"/>
                </a:cubicBezTo>
                <a:cubicBezTo>
                  <a:pt x="1703" y="204"/>
                  <a:pt x="1703" y="204"/>
                  <a:pt x="1703" y="204"/>
                </a:cubicBezTo>
                <a:cubicBezTo>
                  <a:pt x="1674" y="204"/>
                  <a:pt x="1674" y="204"/>
                  <a:pt x="1674" y="204"/>
                </a:cubicBezTo>
                <a:cubicBezTo>
                  <a:pt x="1674" y="194"/>
                  <a:pt x="1674" y="194"/>
                  <a:pt x="1674" y="194"/>
                </a:cubicBezTo>
                <a:cubicBezTo>
                  <a:pt x="1671" y="198"/>
                  <a:pt x="1668" y="201"/>
                  <a:pt x="1663" y="203"/>
                </a:cubicBezTo>
                <a:cubicBezTo>
                  <a:pt x="1659" y="206"/>
                  <a:pt x="1654" y="207"/>
                  <a:pt x="1648" y="207"/>
                </a:cubicBezTo>
                <a:moveTo>
                  <a:pt x="1549" y="179"/>
                </a:moveTo>
                <a:cubicBezTo>
                  <a:pt x="1554" y="179"/>
                  <a:pt x="1559" y="177"/>
                  <a:pt x="1562" y="174"/>
                </a:cubicBezTo>
                <a:cubicBezTo>
                  <a:pt x="1565" y="170"/>
                  <a:pt x="1567" y="165"/>
                  <a:pt x="1567" y="160"/>
                </a:cubicBezTo>
                <a:cubicBezTo>
                  <a:pt x="1567" y="154"/>
                  <a:pt x="1565" y="149"/>
                  <a:pt x="1562" y="145"/>
                </a:cubicBezTo>
                <a:cubicBezTo>
                  <a:pt x="1559" y="142"/>
                  <a:pt x="1554" y="140"/>
                  <a:pt x="1549" y="140"/>
                </a:cubicBezTo>
                <a:cubicBezTo>
                  <a:pt x="1544" y="140"/>
                  <a:pt x="1540" y="142"/>
                  <a:pt x="1536" y="145"/>
                </a:cubicBezTo>
                <a:cubicBezTo>
                  <a:pt x="1533" y="149"/>
                  <a:pt x="1531" y="154"/>
                  <a:pt x="1531" y="160"/>
                </a:cubicBezTo>
                <a:cubicBezTo>
                  <a:pt x="1531" y="165"/>
                  <a:pt x="1533" y="170"/>
                  <a:pt x="1536" y="174"/>
                </a:cubicBezTo>
                <a:cubicBezTo>
                  <a:pt x="1540" y="177"/>
                  <a:pt x="1544" y="179"/>
                  <a:pt x="1549" y="179"/>
                </a:cubicBezTo>
                <a:moveTo>
                  <a:pt x="1502" y="115"/>
                </a:moveTo>
                <a:cubicBezTo>
                  <a:pt x="1531" y="115"/>
                  <a:pt x="1531" y="115"/>
                  <a:pt x="1531" y="115"/>
                </a:cubicBezTo>
                <a:cubicBezTo>
                  <a:pt x="1531" y="125"/>
                  <a:pt x="1531" y="125"/>
                  <a:pt x="1531" y="125"/>
                </a:cubicBezTo>
                <a:cubicBezTo>
                  <a:pt x="1534" y="121"/>
                  <a:pt x="1538" y="118"/>
                  <a:pt x="1542" y="116"/>
                </a:cubicBezTo>
                <a:cubicBezTo>
                  <a:pt x="1547" y="114"/>
                  <a:pt x="1552" y="113"/>
                  <a:pt x="1558" y="113"/>
                </a:cubicBezTo>
                <a:cubicBezTo>
                  <a:pt x="1563" y="113"/>
                  <a:pt x="1569" y="114"/>
                  <a:pt x="1574" y="116"/>
                </a:cubicBezTo>
                <a:cubicBezTo>
                  <a:pt x="1579" y="118"/>
                  <a:pt x="1583" y="122"/>
                  <a:pt x="1587" y="126"/>
                </a:cubicBezTo>
                <a:cubicBezTo>
                  <a:pt x="1590" y="130"/>
                  <a:pt x="1593" y="135"/>
                  <a:pt x="1595" y="140"/>
                </a:cubicBezTo>
                <a:cubicBezTo>
                  <a:pt x="1597" y="146"/>
                  <a:pt x="1598" y="152"/>
                  <a:pt x="1598" y="159"/>
                </a:cubicBezTo>
                <a:cubicBezTo>
                  <a:pt x="1598" y="166"/>
                  <a:pt x="1597" y="172"/>
                  <a:pt x="1595" y="178"/>
                </a:cubicBezTo>
                <a:cubicBezTo>
                  <a:pt x="1593" y="184"/>
                  <a:pt x="1590" y="189"/>
                  <a:pt x="1586" y="193"/>
                </a:cubicBezTo>
                <a:cubicBezTo>
                  <a:pt x="1582" y="197"/>
                  <a:pt x="1578" y="201"/>
                  <a:pt x="1573" y="203"/>
                </a:cubicBezTo>
                <a:cubicBezTo>
                  <a:pt x="1568" y="205"/>
                  <a:pt x="1563" y="207"/>
                  <a:pt x="1557" y="207"/>
                </a:cubicBezTo>
                <a:cubicBezTo>
                  <a:pt x="1552" y="207"/>
                  <a:pt x="1547" y="206"/>
                  <a:pt x="1543" y="204"/>
                </a:cubicBezTo>
                <a:cubicBezTo>
                  <a:pt x="1539" y="202"/>
                  <a:pt x="1536" y="199"/>
                  <a:pt x="1533" y="196"/>
                </a:cubicBezTo>
                <a:cubicBezTo>
                  <a:pt x="1533" y="243"/>
                  <a:pt x="1533" y="243"/>
                  <a:pt x="1533" y="243"/>
                </a:cubicBezTo>
                <a:cubicBezTo>
                  <a:pt x="1502" y="243"/>
                  <a:pt x="1502" y="243"/>
                  <a:pt x="1502" y="243"/>
                </a:cubicBezTo>
                <a:lnTo>
                  <a:pt x="1502" y="115"/>
                </a:lnTo>
                <a:close/>
                <a:moveTo>
                  <a:pt x="1455" y="135"/>
                </a:moveTo>
                <a:cubicBezTo>
                  <a:pt x="1449" y="135"/>
                  <a:pt x="1445" y="137"/>
                  <a:pt x="1445" y="140"/>
                </a:cubicBezTo>
                <a:cubicBezTo>
                  <a:pt x="1445" y="142"/>
                  <a:pt x="1446" y="144"/>
                  <a:pt x="1448" y="145"/>
                </a:cubicBezTo>
                <a:cubicBezTo>
                  <a:pt x="1450" y="146"/>
                  <a:pt x="1454" y="147"/>
                  <a:pt x="1459" y="148"/>
                </a:cubicBezTo>
                <a:cubicBezTo>
                  <a:pt x="1469" y="151"/>
                  <a:pt x="1477" y="154"/>
                  <a:pt x="1482" y="159"/>
                </a:cubicBezTo>
                <a:cubicBezTo>
                  <a:pt x="1487" y="164"/>
                  <a:pt x="1489" y="170"/>
                  <a:pt x="1489" y="179"/>
                </a:cubicBezTo>
                <a:cubicBezTo>
                  <a:pt x="1489" y="187"/>
                  <a:pt x="1486" y="194"/>
                  <a:pt x="1479" y="199"/>
                </a:cubicBezTo>
                <a:cubicBezTo>
                  <a:pt x="1472" y="204"/>
                  <a:pt x="1462" y="207"/>
                  <a:pt x="1449" y="207"/>
                </a:cubicBezTo>
                <a:cubicBezTo>
                  <a:pt x="1442" y="207"/>
                  <a:pt x="1436" y="206"/>
                  <a:pt x="1429" y="204"/>
                </a:cubicBezTo>
                <a:cubicBezTo>
                  <a:pt x="1423" y="203"/>
                  <a:pt x="1418" y="201"/>
                  <a:pt x="1414" y="198"/>
                </a:cubicBezTo>
                <a:cubicBezTo>
                  <a:pt x="1424" y="180"/>
                  <a:pt x="1424" y="180"/>
                  <a:pt x="1424" y="180"/>
                </a:cubicBezTo>
                <a:cubicBezTo>
                  <a:pt x="1427" y="181"/>
                  <a:pt x="1431" y="182"/>
                  <a:pt x="1436" y="183"/>
                </a:cubicBezTo>
                <a:cubicBezTo>
                  <a:pt x="1440" y="184"/>
                  <a:pt x="1444" y="184"/>
                  <a:pt x="1447" y="184"/>
                </a:cubicBezTo>
                <a:cubicBezTo>
                  <a:pt x="1455" y="184"/>
                  <a:pt x="1458" y="182"/>
                  <a:pt x="1458" y="179"/>
                </a:cubicBezTo>
                <a:cubicBezTo>
                  <a:pt x="1458" y="178"/>
                  <a:pt x="1458" y="177"/>
                  <a:pt x="1458" y="176"/>
                </a:cubicBezTo>
                <a:cubicBezTo>
                  <a:pt x="1458" y="176"/>
                  <a:pt x="1457" y="175"/>
                  <a:pt x="1456" y="175"/>
                </a:cubicBezTo>
                <a:cubicBezTo>
                  <a:pt x="1455" y="174"/>
                  <a:pt x="1454" y="173"/>
                  <a:pt x="1452" y="173"/>
                </a:cubicBezTo>
                <a:cubicBezTo>
                  <a:pt x="1450" y="172"/>
                  <a:pt x="1448" y="172"/>
                  <a:pt x="1445" y="171"/>
                </a:cubicBezTo>
                <a:cubicBezTo>
                  <a:pt x="1440" y="170"/>
                  <a:pt x="1435" y="168"/>
                  <a:pt x="1432" y="166"/>
                </a:cubicBezTo>
                <a:cubicBezTo>
                  <a:pt x="1428" y="164"/>
                  <a:pt x="1425" y="162"/>
                  <a:pt x="1422" y="160"/>
                </a:cubicBezTo>
                <a:cubicBezTo>
                  <a:pt x="1420" y="157"/>
                  <a:pt x="1418" y="155"/>
                  <a:pt x="1417" y="152"/>
                </a:cubicBezTo>
                <a:cubicBezTo>
                  <a:pt x="1416" y="148"/>
                  <a:pt x="1415" y="145"/>
                  <a:pt x="1415" y="141"/>
                </a:cubicBezTo>
                <a:cubicBezTo>
                  <a:pt x="1415" y="132"/>
                  <a:pt x="1418" y="125"/>
                  <a:pt x="1425" y="120"/>
                </a:cubicBezTo>
                <a:cubicBezTo>
                  <a:pt x="1432" y="115"/>
                  <a:pt x="1441" y="113"/>
                  <a:pt x="1453" y="113"/>
                </a:cubicBezTo>
                <a:cubicBezTo>
                  <a:pt x="1459" y="113"/>
                  <a:pt x="1465" y="113"/>
                  <a:pt x="1471" y="115"/>
                </a:cubicBezTo>
                <a:cubicBezTo>
                  <a:pt x="1476" y="116"/>
                  <a:pt x="1481" y="117"/>
                  <a:pt x="1485" y="120"/>
                </a:cubicBezTo>
                <a:cubicBezTo>
                  <a:pt x="1482" y="142"/>
                  <a:pt x="1482" y="142"/>
                  <a:pt x="1482" y="142"/>
                </a:cubicBezTo>
                <a:cubicBezTo>
                  <a:pt x="1478" y="140"/>
                  <a:pt x="1473" y="138"/>
                  <a:pt x="1468" y="137"/>
                </a:cubicBezTo>
                <a:cubicBezTo>
                  <a:pt x="1464" y="136"/>
                  <a:pt x="1459" y="135"/>
                  <a:pt x="1455" y="135"/>
                </a:cubicBezTo>
                <a:moveTo>
                  <a:pt x="1356" y="181"/>
                </a:moveTo>
                <a:cubicBezTo>
                  <a:pt x="1362" y="181"/>
                  <a:pt x="1366" y="179"/>
                  <a:pt x="1370" y="175"/>
                </a:cubicBezTo>
                <a:cubicBezTo>
                  <a:pt x="1373" y="171"/>
                  <a:pt x="1375" y="166"/>
                  <a:pt x="1375" y="160"/>
                </a:cubicBezTo>
                <a:cubicBezTo>
                  <a:pt x="1375" y="153"/>
                  <a:pt x="1373" y="148"/>
                  <a:pt x="1370" y="144"/>
                </a:cubicBezTo>
                <a:cubicBezTo>
                  <a:pt x="1366" y="140"/>
                  <a:pt x="1362" y="139"/>
                  <a:pt x="1356" y="139"/>
                </a:cubicBezTo>
                <a:cubicBezTo>
                  <a:pt x="1350" y="139"/>
                  <a:pt x="1345" y="140"/>
                  <a:pt x="1342" y="144"/>
                </a:cubicBezTo>
                <a:cubicBezTo>
                  <a:pt x="1338" y="148"/>
                  <a:pt x="1337" y="153"/>
                  <a:pt x="1337" y="160"/>
                </a:cubicBezTo>
                <a:cubicBezTo>
                  <a:pt x="1337" y="166"/>
                  <a:pt x="1338" y="171"/>
                  <a:pt x="1342" y="175"/>
                </a:cubicBezTo>
                <a:cubicBezTo>
                  <a:pt x="1345" y="179"/>
                  <a:pt x="1350" y="181"/>
                  <a:pt x="1356" y="181"/>
                </a:cubicBezTo>
                <a:moveTo>
                  <a:pt x="1356" y="207"/>
                </a:moveTo>
                <a:cubicBezTo>
                  <a:pt x="1349" y="207"/>
                  <a:pt x="1342" y="205"/>
                  <a:pt x="1336" y="203"/>
                </a:cubicBezTo>
                <a:cubicBezTo>
                  <a:pt x="1330" y="201"/>
                  <a:pt x="1325" y="198"/>
                  <a:pt x="1321" y="193"/>
                </a:cubicBezTo>
                <a:cubicBezTo>
                  <a:pt x="1317" y="189"/>
                  <a:pt x="1313" y="184"/>
                  <a:pt x="1311" y="178"/>
                </a:cubicBezTo>
                <a:cubicBezTo>
                  <a:pt x="1308" y="173"/>
                  <a:pt x="1307" y="166"/>
                  <a:pt x="1307" y="160"/>
                </a:cubicBezTo>
                <a:cubicBezTo>
                  <a:pt x="1307" y="153"/>
                  <a:pt x="1308" y="147"/>
                  <a:pt x="1311" y="141"/>
                </a:cubicBezTo>
                <a:cubicBezTo>
                  <a:pt x="1313" y="135"/>
                  <a:pt x="1317" y="130"/>
                  <a:pt x="1321" y="126"/>
                </a:cubicBezTo>
                <a:cubicBezTo>
                  <a:pt x="1325" y="122"/>
                  <a:pt x="1331" y="118"/>
                  <a:pt x="1337" y="116"/>
                </a:cubicBezTo>
                <a:cubicBezTo>
                  <a:pt x="1342" y="114"/>
                  <a:pt x="1349" y="113"/>
                  <a:pt x="1356" y="113"/>
                </a:cubicBezTo>
                <a:cubicBezTo>
                  <a:pt x="1363" y="113"/>
                  <a:pt x="1369" y="114"/>
                  <a:pt x="1375" y="116"/>
                </a:cubicBezTo>
                <a:cubicBezTo>
                  <a:pt x="1381" y="118"/>
                  <a:pt x="1386" y="122"/>
                  <a:pt x="1391" y="126"/>
                </a:cubicBezTo>
                <a:cubicBezTo>
                  <a:pt x="1395" y="130"/>
                  <a:pt x="1398" y="135"/>
                  <a:pt x="1401" y="141"/>
                </a:cubicBezTo>
                <a:cubicBezTo>
                  <a:pt x="1403" y="147"/>
                  <a:pt x="1404" y="153"/>
                  <a:pt x="1404" y="160"/>
                </a:cubicBezTo>
                <a:cubicBezTo>
                  <a:pt x="1404" y="166"/>
                  <a:pt x="1403" y="173"/>
                  <a:pt x="1401" y="178"/>
                </a:cubicBezTo>
                <a:cubicBezTo>
                  <a:pt x="1398" y="184"/>
                  <a:pt x="1395" y="189"/>
                  <a:pt x="1391" y="193"/>
                </a:cubicBezTo>
                <a:cubicBezTo>
                  <a:pt x="1386" y="197"/>
                  <a:pt x="1381" y="201"/>
                  <a:pt x="1375" y="203"/>
                </a:cubicBezTo>
                <a:cubicBezTo>
                  <a:pt x="1369" y="205"/>
                  <a:pt x="1363" y="207"/>
                  <a:pt x="1356" y="207"/>
                </a:cubicBezTo>
                <a:moveTo>
                  <a:pt x="1239" y="115"/>
                </a:moveTo>
                <a:cubicBezTo>
                  <a:pt x="1269" y="115"/>
                  <a:pt x="1269" y="115"/>
                  <a:pt x="1269" y="115"/>
                </a:cubicBezTo>
                <a:cubicBezTo>
                  <a:pt x="1269" y="129"/>
                  <a:pt x="1269" y="129"/>
                  <a:pt x="1269" y="129"/>
                </a:cubicBezTo>
                <a:cubicBezTo>
                  <a:pt x="1271" y="124"/>
                  <a:pt x="1274" y="120"/>
                  <a:pt x="1278" y="118"/>
                </a:cubicBezTo>
                <a:cubicBezTo>
                  <a:pt x="1282" y="115"/>
                  <a:pt x="1286" y="114"/>
                  <a:pt x="1291" y="114"/>
                </a:cubicBezTo>
                <a:cubicBezTo>
                  <a:pt x="1295" y="114"/>
                  <a:pt x="1299" y="114"/>
                  <a:pt x="1301" y="116"/>
                </a:cubicBezTo>
                <a:cubicBezTo>
                  <a:pt x="1299" y="145"/>
                  <a:pt x="1299" y="145"/>
                  <a:pt x="1299" y="145"/>
                </a:cubicBezTo>
                <a:cubicBezTo>
                  <a:pt x="1297" y="144"/>
                  <a:pt x="1296" y="143"/>
                  <a:pt x="1293" y="143"/>
                </a:cubicBezTo>
                <a:cubicBezTo>
                  <a:pt x="1291" y="143"/>
                  <a:pt x="1289" y="142"/>
                  <a:pt x="1288" y="142"/>
                </a:cubicBezTo>
                <a:cubicBezTo>
                  <a:pt x="1276" y="142"/>
                  <a:pt x="1270" y="150"/>
                  <a:pt x="1270" y="166"/>
                </a:cubicBezTo>
                <a:cubicBezTo>
                  <a:pt x="1270" y="204"/>
                  <a:pt x="1270" y="204"/>
                  <a:pt x="1270" y="204"/>
                </a:cubicBezTo>
                <a:cubicBezTo>
                  <a:pt x="1239" y="204"/>
                  <a:pt x="1239" y="204"/>
                  <a:pt x="1239" y="204"/>
                </a:cubicBezTo>
                <a:lnTo>
                  <a:pt x="1239" y="115"/>
                </a:lnTo>
                <a:close/>
                <a:moveTo>
                  <a:pt x="1195" y="150"/>
                </a:moveTo>
                <a:cubicBezTo>
                  <a:pt x="1195" y="145"/>
                  <a:pt x="1193" y="142"/>
                  <a:pt x="1191" y="139"/>
                </a:cubicBezTo>
                <a:cubicBezTo>
                  <a:pt x="1188" y="136"/>
                  <a:pt x="1184" y="135"/>
                  <a:pt x="1180" y="135"/>
                </a:cubicBezTo>
                <a:cubicBezTo>
                  <a:pt x="1172" y="135"/>
                  <a:pt x="1166" y="140"/>
                  <a:pt x="1164" y="150"/>
                </a:cubicBezTo>
                <a:lnTo>
                  <a:pt x="1195" y="150"/>
                </a:lnTo>
                <a:close/>
                <a:moveTo>
                  <a:pt x="1224" y="197"/>
                </a:moveTo>
                <a:cubicBezTo>
                  <a:pt x="1219" y="200"/>
                  <a:pt x="1214" y="203"/>
                  <a:pt x="1208" y="204"/>
                </a:cubicBezTo>
                <a:cubicBezTo>
                  <a:pt x="1201" y="206"/>
                  <a:pt x="1195" y="207"/>
                  <a:pt x="1188" y="207"/>
                </a:cubicBezTo>
                <a:cubicBezTo>
                  <a:pt x="1180" y="207"/>
                  <a:pt x="1172" y="206"/>
                  <a:pt x="1166" y="203"/>
                </a:cubicBezTo>
                <a:cubicBezTo>
                  <a:pt x="1159" y="201"/>
                  <a:pt x="1153" y="198"/>
                  <a:pt x="1149" y="194"/>
                </a:cubicBezTo>
                <a:cubicBezTo>
                  <a:pt x="1144" y="190"/>
                  <a:pt x="1141" y="185"/>
                  <a:pt x="1138" y="179"/>
                </a:cubicBezTo>
                <a:cubicBezTo>
                  <a:pt x="1136" y="173"/>
                  <a:pt x="1134" y="167"/>
                  <a:pt x="1134" y="160"/>
                </a:cubicBezTo>
                <a:cubicBezTo>
                  <a:pt x="1134" y="153"/>
                  <a:pt x="1136" y="146"/>
                  <a:pt x="1138" y="141"/>
                </a:cubicBezTo>
                <a:cubicBezTo>
                  <a:pt x="1140" y="135"/>
                  <a:pt x="1143" y="130"/>
                  <a:pt x="1147" y="126"/>
                </a:cubicBezTo>
                <a:cubicBezTo>
                  <a:pt x="1151" y="122"/>
                  <a:pt x="1156" y="118"/>
                  <a:pt x="1162" y="116"/>
                </a:cubicBezTo>
                <a:cubicBezTo>
                  <a:pt x="1168" y="114"/>
                  <a:pt x="1174" y="113"/>
                  <a:pt x="1181" y="113"/>
                </a:cubicBezTo>
                <a:cubicBezTo>
                  <a:pt x="1187" y="113"/>
                  <a:pt x="1193" y="114"/>
                  <a:pt x="1199" y="116"/>
                </a:cubicBezTo>
                <a:cubicBezTo>
                  <a:pt x="1204" y="118"/>
                  <a:pt x="1209" y="121"/>
                  <a:pt x="1212" y="125"/>
                </a:cubicBezTo>
                <a:cubicBezTo>
                  <a:pt x="1216" y="128"/>
                  <a:pt x="1219" y="133"/>
                  <a:pt x="1221" y="138"/>
                </a:cubicBezTo>
                <a:cubicBezTo>
                  <a:pt x="1223" y="144"/>
                  <a:pt x="1224" y="150"/>
                  <a:pt x="1224" y="157"/>
                </a:cubicBezTo>
                <a:cubicBezTo>
                  <a:pt x="1224" y="161"/>
                  <a:pt x="1224" y="165"/>
                  <a:pt x="1223" y="168"/>
                </a:cubicBezTo>
                <a:cubicBezTo>
                  <a:pt x="1165" y="168"/>
                  <a:pt x="1165" y="168"/>
                  <a:pt x="1165" y="168"/>
                </a:cubicBezTo>
                <a:cubicBezTo>
                  <a:pt x="1168" y="178"/>
                  <a:pt x="1176" y="183"/>
                  <a:pt x="1191" y="183"/>
                </a:cubicBezTo>
                <a:cubicBezTo>
                  <a:pt x="1194" y="183"/>
                  <a:pt x="1198" y="182"/>
                  <a:pt x="1203" y="181"/>
                </a:cubicBezTo>
                <a:cubicBezTo>
                  <a:pt x="1207" y="180"/>
                  <a:pt x="1211" y="179"/>
                  <a:pt x="1214" y="178"/>
                </a:cubicBezTo>
                <a:lnTo>
                  <a:pt x="1224" y="197"/>
                </a:lnTo>
                <a:close/>
                <a:moveTo>
                  <a:pt x="1077" y="148"/>
                </a:moveTo>
                <a:cubicBezTo>
                  <a:pt x="1062" y="103"/>
                  <a:pt x="1062" y="103"/>
                  <a:pt x="1062" y="103"/>
                </a:cubicBezTo>
                <a:cubicBezTo>
                  <a:pt x="1047" y="148"/>
                  <a:pt x="1047" y="148"/>
                  <a:pt x="1047" y="148"/>
                </a:cubicBezTo>
                <a:lnTo>
                  <a:pt x="1077" y="148"/>
                </a:lnTo>
                <a:close/>
                <a:moveTo>
                  <a:pt x="1046" y="73"/>
                </a:moveTo>
                <a:cubicBezTo>
                  <a:pt x="1081" y="73"/>
                  <a:pt x="1081" y="73"/>
                  <a:pt x="1081" y="73"/>
                </a:cubicBezTo>
                <a:cubicBezTo>
                  <a:pt x="1133" y="204"/>
                  <a:pt x="1133" y="204"/>
                  <a:pt x="1133" y="204"/>
                </a:cubicBezTo>
                <a:cubicBezTo>
                  <a:pt x="1096" y="204"/>
                  <a:pt x="1096" y="204"/>
                  <a:pt x="1096" y="204"/>
                </a:cubicBezTo>
                <a:cubicBezTo>
                  <a:pt x="1086" y="174"/>
                  <a:pt x="1086" y="174"/>
                  <a:pt x="1086" y="174"/>
                </a:cubicBezTo>
                <a:cubicBezTo>
                  <a:pt x="1039" y="174"/>
                  <a:pt x="1039" y="174"/>
                  <a:pt x="1039" y="174"/>
                </a:cubicBezTo>
                <a:cubicBezTo>
                  <a:pt x="1029" y="204"/>
                  <a:pt x="1029" y="204"/>
                  <a:pt x="1029" y="204"/>
                </a:cubicBezTo>
                <a:cubicBezTo>
                  <a:pt x="995" y="204"/>
                  <a:pt x="995" y="204"/>
                  <a:pt x="995" y="204"/>
                </a:cubicBezTo>
                <a:lnTo>
                  <a:pt x="1046" y="73"/>
                </a:lnTo>
                <a:close/>
                <a:moveTo>
                  <a:pt x="921" y="135"/>
                </a:moveTo>
                <a:cubicBezTo>
                  <a:pt x="914" y="135"/>
                  <a:pt x="911" y="137"/>
                  <a:pt x="911" y="140"/>
                </a:cubicBezTo>
                <a:cubicBezTo>
                  <a:pt x="911" y="142"/>
                  <a:pt x="912" y="144"/>
                  <a:pt x="914" y="145"/>
                </a:cubicBezTo>
                <a:cubicBezTo>
                  <a:pt x="916" y="146"/>
                  <a:pt x="919" y="147"/>
                  <a:pt x="924" y="148"/>
                </a:cubicBezTo>
                <a:cubicBezTo>
                  <a:pt x="935" y="151"/>
                  <a:pt x="943" y="154"/>
                  <a:pt x="948" y="159"/>
                </a:cubicBezTo>
                <a:cubicBezTo>
                  <a:pt x="952" y="164"/>
                  <a:pt x="955" y="170"/>
                  <a:pt x="955" y="179"/>
                </a:cubicBezTo>
                <a:cubicBezTo>
                  <a:pt x="955" y="187"/>
                  <a:pt x="951" y="194"/>
                  <a:pt x="944" y="199"/>
                </a:cubicBezTo>
                <a:cubicBezTo>
                  <a:pt x="937" y="204"/>
                  <a:pt x="928" y="207"/>
                  <a:pt x="915" y="207"/>
                </a:cubicBezTo>
                <a:cubicBezTo>
                  <a:pt x="908" y="207"/>
                  <a:pt x="901" y="206"/>
                  <a:pt x="895" y="204"/>
                </a:cubicBezTo>
                <a:cubicBezTo>
                  <a:pt x="888" y="203"/>
                  <a:pt x="883" y="201"/>
                  <a:pt x="880" y="198"/>
                </a:cubicBezTo>
                <a:cubicBezTo>
                  <a:pt x="890" y="180"/>
                  <a:pt x="890" y="180"/>
                  <a:pt x="890" y="180"/>
                </a:cubicBezTo>
                <a:cubicBezTo>
                  <a:pt x="893" y="181"/>
                  <a:pt x="897" y="182"/>
                  <a:pt x="901" y="183"/>
                </a:cubicBezTo>
                <a:cubicBezTo>
                  <a:pt x="905" y="184"/>
                  <a:pt x="909" y="184"/>
                  <a:pt x="913" y="184"/>
                </a:cubicBezTo>
                <a:cubicBezTo>
                  <a:pt x="920" y="184"/>
                  <a:pt x="924" y="182"/>
                  <a:pt x="924" y="179"/>
                </a:cubicBezTo>
                <a:cubicBezTo>
                  <a:pt x="924" y="178"/>
                  <a:pt x="924" y="177"/>
                  <a:pt x="924" y="176"/>
                </a:cubicBezTo>
                <a:cubicBezTo>
                  <a:pt x="923" y="176"/>
                  <a:pt x="923" y="175"/>
                  <a:pt x="922" y="175"/>
                </a:cubicBezTo>
                <a:cubicBezTo>
                  <a:pt x="921" y="174"/>
                  <a:pt x="919" y="173"/>
                  <a:pt x="918" y="173"/>
                </a:cubicBezTo>
                <a:cubicBezTo>
                  <a:pt x="916" y="172"/>
                  <a:pt x="914" y="172"/>
                  <a:pt x="911" y="171"/>
                </a:cubicBezTo>
                <a:cubicBezTo>
                  <a:pt x="906" y="170"/>
                  <a:pt x="901" y="168"/>
                  <a:pt x="897" y="166"/>
                </a:cubicBezTo>
                <a:cubicBezTo>
                  <a:pt x="893" y="164"/>
                  <a:pt x="890" y="162"/>
                  <a:pt x="888" y="160"/>
                </a:cubicBezTo>
                <a:cubicBezTo>
                  <a:pt x="885" y="157"/>
                  <a:pt x="884" y="155"/>
                  <a:pt x="883" y="152"/>
                </a:cubicBezTo>
                <a:cubicBezTo>
                  <a:pt x="881" y="148"/>
                  <a:pt x="881" y="145"/>
                  <a:pt x="881" y="141"/>
                </a:cubicBezTo>
                <a:cubicBezTo>
                  <a:pt x="881" y="132"/>
                  <a:pt x="884" y="125"/>
                  <a:pt x="891" y="120"/>
                </a:cubicBezTo>
                <a:cubicBezTo>
                  <a:pt x="898" y="115"/>
                  <a:pt x="907" y="113"/>
                  <a:pt x="919" y="113"/>
                </a:cubicBezTo>
                <a:cubicBezTo>
                  <a:pt x="925" y="113"/>
                  <a:pt x="931" y="113"/>
                  <a:pt x="936" y="115"/>
                </a:cubicBezTo>
                <a:cubicBezTo>
                  <a:pt x="942" y="116"/>
                  <a:pt x="947" y="117"/>
                  <a:pt x="951" y="120"/>
                </a:cubicBezTo>
                <a:cubicBezTo>
                  <a:pt x="948" y="142"/>
                  <a:pt x="948" y="142"/>
                  <a:pt x="948" y="142"/>
                </a:cubicBezTo>
                <a:cubicBezTo>
                  <a:pt x="943" y="140"/>
                  <a:pt x="939" y="138"/>
                  <a:pt x="934" y="137"/>
                </a:cubicBezTo>
                <a:cubicBezTo>
                  <a:pt x="929" y="136"/>
                  <a:pt x="925" y="135"/>
                  <a:pt x="921" y="135"/>
                </a:cubicBezTo>
                <a:moveTo>
                  <a:pt x="780" y="115"/>
                </a:moveTo>
                <a:cubicBezTo>
                  <a:pt x="810" y="115"/>
                  <a:pt x="810" y="115"/>
                  <a:pt x="810" y="115"/>
                </a:cubicBezTo>
                <a:cubicBezTo>
                  <a:pt x="810" y="126"/>
                  <a:pt x="810" y="126"/>
                  <a:pt x="810" y="126"/>
                </a:cubicBezTo>
                <a:cubicBezTo>
                  <a:pt x="812" y="122"/>
                  <a:pt x="816" y="119"/>
                  <a:pt x="820" y="116"/>
                </a:cubicBezTo>
                <a:cubicBezTo>
                  <a:pt x="825" y="114"/>
                  <a:pt x="830" y="113"/>
                  <a:pt x="836" y="113"/>
                </a:cubicBezTo>
                <a:cubicBezTo>
                  <a:pt x="846" y="113"/>
                  <a:pt x="853" y="116"/>
                  <a:pt x="859" y="122"/>
                </a:cubicBezTo>
                <a:cubicBezTo>
                  <a:pt x="864" y="128"/>
                  <a:pt x="866" y="138"/>
                  <a:pt x="866" y="150"/>
                </a:cubicBezTo>
                <a:cubicBezTo>
                  <a:pt x="866" y="204"/>
                  <a:pt x="866" y="204"/>
                  <a:pt x="866" y="204"/>
                </a:cubicBezTo>
                <a:cubicBezTo>
                  <a:pt x="836" y="204"/>
                  <a:pt x="836" y="204"/>
                  <a:pt x="836" y="204"/>
                </a:cubicBezTo>
                <a:cubicBezTo>
                  <a:pt x="836" y="156"/>
                  <a:pt x="836" y="156"/>
                  <a:pt x="836" y="156"/>
                </a:cubicBezTo>
                <a:cubicBezTo>
                  <a:pt x="836" y="145"/>
                  <a:pt x="832" y="140"/>
                  <a:pt x="824" y="140"/>
                </a:cubicBezTo>
                <a:cubicBezTo>
                  <a:pt x="819" y="140"/>
                  <a:pt x="816" y="142"/>
                  <a:pt x="814" y="144"/>
                </a:cubicBezTo>
                <a:cubicBezTo>
                  <a:pt x="812" y="147"/>
                  <a:pt x="810" y="152"/>
                  <a:pt x="810" y="157"/>
                </a:cubicBezTo>
                <a:cubicBezTo>
                  <a:pt x="810" y="204"/>
                  <a:pt x="810" y="204"/>
                  <a:pt x="810" y="204"/>
                </a:cubicBezTo>
                <a:cubicBezTo>
                  <a:pt x="780" y="204"/>
                  <a:pt x="780" y="204"/>
                  <a:pt x="780" y="204"/>
                </a:cubicBezTo>
                <a:lnTo>
                  <a:pt x="780" y="115"/>
                </a:lnTo>
                <a:close/>
                <a:moveTo>
                  <a:pt x="729" y="115"/>
                </a:moveTo>
                <a:cubicBezTo>
                  <a:pt x="760" y="115"/>
                  <a:pt x="760" y="115"/>
                  <a:pt x="760" y="115"/>
                </a:cubicBezTo>
                <a:cubicBezTo>
                  <a:pt x="760" y="204"/>
                  <a:pt x="760" y="204"/>
                  <a:pt x="760" y="204"/>
                </a:cubicBezTo>
                <a:cubicBezTo>
                  <a:pt x="729" y="204"/>
                  <a:pt x="729" y="204"/>
                  <a:pt x="729" y="204"/>
                </a:cubicBezTo>
                <a:lnTo>
                  <a:pt x="729" y="115"/>
                </a:lnTo>
                <a:close/>
                <a:moveTo>
                  <a:pt x="744" y="101"/>
                </a:moveTo>
                <a:cubicBezTo>
                  <a:pt x="739" y="101"/>
                  <a:pt x="735" y="100"/>
                  <a:pt x="732" y="97"/>
                </a:cubicBezTo>
                <a:cubicBezTo>
                  <a:pt x="729" y="94"/>
                  <a:pt x="727" y="90"/>
                  <a:pt x="727" y="85"/>
                </a:cubicBezTo>
                <a:cubicBezTo>
                  <a:pt x="727" y="80"/>
                  <a:pt x="729" y="76"/>
                  <a:pt x="732" y="73"/>
                </a:cubicBezTo>
                <a:cubicBezTo>
                  <a:pt x="735" y="70"/>
                  <a:pt x="739" y="68"/>
                  <a:pt x="744" y="68"/>
                </a:cubicBezTo>
                <a:cubicBezTo>
                  <a:pt x="749" y="68"/>
                  <a:pt x="753" y="70"/>
                  <a:pt x="757" y="73"/>
                </a:cubicBezTo>
                <a:cubicBezTo>
                  <a:pt x="760" y="76"/>
                  <a:pt x="762" y="80"/>
                  <a:pt x="762" y="85"/>
                </a:cubicBezTo>
                <a:cubicBezTo>
                  <a:pt x="762" y="90"/>
                  <a:pt x="760" y="94"/>
                  <a:pt x="757" y="97"/>
                </a:cubicBezTo>
                <a:cubicBezTo>
                  <a:pt x="753" y="100"/>
                  <a:pt x="749" y="101"/>
                  <a:pt x="744" y="101"/>
                </a:cubicBezTo>
                <a:moveTo>
                  <a:pt x="676" y="73"/>
                </a:moveTo>
                <a:cubicBezTo>
                  <a:pt x="707" y="73"/>
                  <a:pt x="707" y="73"/>
                  <a:pt x="707" y="73"/>
                </a:cubicBezTo>
                <a:cubicBezTo>
                  <a:pt x="707" y="204"/>
                  <a:pt x="707" y="204"/>
                  <a:pt x="707" y="204"/>
                </a:cubicBezTo>
                <a:cubicBezTo>
                  <a:pt x="676" y="204"/>
                  <a:pt x="676" y="204"/>
                  <a:pt x="676" y="204"/>
                </a:cubicBezTo>
                <a:lnTo>
                  <a:pt x="676" y="73"/>
                </a:lnTo>
                <a:close/>
                <a:moveTo>
                  <a:pt x="625" y="73"/>
                </a:moveTo>
                <a:cubicBezTo>
                  <a:pt x="656" y="73"/>
                  <a:pt x="656" y="73"/>
                  <a:pt x="656" y="73"/>
                </a:cubicBezTo>
                <a:cubicBezTo>
                  <a:pt x="656" y="204"/>
                  <a:pt x="656" y="204"/>
                  <a:pt x="656" y="204"/>
                </a:cubicBezTo>
                <a:cubicBezTo>
                  <a:pt x="625" y="204"/>
                  <a:pt x="625" y="204"/>
                  <a:pt x="625" y="204"/>
                </a:cubicBezTo>
                <a:lnTo>
                  <a:pt x="625" y="73"/>
                </a:lnTo>
                <a:close/>
                <a:moveTo>
                  <a:pt x="564" y="181"/>
                </a:moveTo>
                <a:cubicBezTo>
                  <a:pt x="570" y="181"/>
                  <a:pt x="574" y="179"/>
                  <a:pt x="578" y="175"/>
                </a:cubicBezTo>
                <a:cubicBezTo>
                  <a:pt x="581" y="171"/>
                  <a:pt x="583" y="166"/>
                  <a:pt x="583" y="160"/>
                </a:cubicBezTo>
                <a:cubicBezTo>
                  <a:pt x="583" y="153"/>
                  <a:pt x="581" y="148"/>
                  <a:pt x="578" y="144"/>
                </a:cubicBezTo>
                <a:cubicBezTo>
                  <a:pt x="574" y="140"/>
                  <a:pt x="570" y="139"/>
                  <a:pt x="564" y="139"/>
                </a:cubicBezTo>
                <a:cubicBezTo>
                  <a:pt x="558" y="139"/>
                  <a:pt x="553" y="140"/>
                  <a:pt x="550" y="144"/>
                </a:cubicBezTo>
                <a:cubicBezTo>
                  <a:pt x="546" y="148"/>
                  <a:pt x="544" y="153"/>
                  <a:pt x="544" y="160"/>
                </a:cubicBezTo>
                <a:cubicBezTo>
                  <a:pt x="544" y="166"/>
                  <a:pt x="546" y="171"/>
                  <a:pt x="550" y="175"/>
                </a:cubicBezTo>
                <a:cubicBezTo>
                  <a:pt x="553" y="179"/>
                  <a:pt x="558" y="181"/>
                  <a:pt x="564" y="181"/>
                </a:cubicBezTo>
                <a:moveTo>
                  <a:pt x="564" y="207"/>
                </a:moveTo>
                <a:cubicBezTo>
                  <a:pt x="557" y="207"/>
                  <a:pt x="550" y="205"/>
                  <a:pt x="544" y="203"/>
                </a:cubicBezTo>
                <a:cubicBezTo>
                  <a:pt x="538" y="200"/>
                  <a:pt x="533" y="197"/>
                  <a:pt x="529" y="192"/>
                </a:cubicBezTo>
                <a:cubicBezTo>
                  <a:pt x="524" y="188"/>
                  <a:pt x="521" y="183"/>
                  <a:pt x="518" y="177"/>
                </a:cubicBezTo>
                <a:cubicBezTo>
                  <a:pt x="516" y="171"/>
                  <a:pt x="515" y="164"/>
                  <a:pt x="515" y="158"/>
                </a:cubicBezTo>
                <a:cubicBezTo>
                  <a:pt x="515" y="151"/>
                  <a:pt x="516" y="145"/>
                  <a:pt x="518" y="139"/>
                </a:cubicBezTo>
                <a:cubicBezTo>
                  <a:pt x="521" y="134"/>
                  <a:pt x="524" y="129"/>
                  <a:pt x="529" y="125"/>
                </a:cubicBezTo>
                <a:cubicBezTo>
                  <a:pt x="533" y="121"/>
                  <a:pt x="538" y="118"/>
                  <a:pt x="544" y="116"/>
                </a:cubicBezTo>
                <a:cubicBezTo>
                  <a:pt x="550" y="114"/>
                  <a:pt x="557" y="113"/>
                  <a:pt x="564" y="113"/>
                </a:cubicBezTo>
                <a:cubicBezTo>
                  <a:pt x="571" y="113"/>
                  <a:pt x="577" y="114"/>
                  <a:pt x="583" y="116"/>
                </a:cubicBezTo>
                <a:cubicBezTo>
                  <a:pt x="589" y="118"/>
                  <a:pt x="594" y="122"/>
                  <a:pt x="599" y="126"/>
                </a:cubicBezTo>
                <a:cubicBezTo>
                  <a:pt x="603" y="130"/>
                  <a:pt x="606" y="135"/>
                  <a:pt x="609" y="141"/>
                </a:cubicBezTo>
                <a:cubicBezTo>
                  <a:pt x="611" y="147"/>
                  <a:pt x="612" y="153"/>
                  <a:pt x="612" y="160"/>
                </a:cubicBezTo>
                <a:cubicBezTo>
                  <a:pt x="612" y="166"/>
                  <a:pt x="611" y="173"/>
                  <a:pt x="609" y="178"/>
                </a:cubicBezTo>
                <a:cubicBezTo>
                  <a:pt x="606" y="184"/>
                  <a:pt x="603" y="189"/>
                  <a:pt x="599" y="193"/>
                </a:cubicBezTo>
                <a:cubicBezTo>
                  <a:pt x="594" y="197"/>
                  <a:pt x="589" y="201"/>
                  <a:pt x="583" y="203"/>
                </a:cubicBezTo>
                <a:cubicBezTo>
                  <a:pt x="577" y="205"/>
                  <a:pt x="571" y="207"/>
                  <a:pt x="564" y="207"/>
                </a:cubicBezTo>
                <a:moveTo>
                  <a:pt x="507" y="192"/>
                </a:moveTo>
                <a:cubicBezTo>
                  <a:pt x="501" y="196"/>
                  <a:pt x="494" y="200"/>
                  <a:pt x="486" y="202"/>
                </a:cubicBezTo>
                <a:cubicBezTo>
                  <a:pt x="478" y="205"/>
                  <a:pt x="469" y="206"/>
                  <a:pt x="460" y="206"/>
                </a:cubicBezTo>
                <a:cubicBezTo>
                  <a:pt x="450" y="206"/>
                  <a:pt x="440" y="204"/>
                  <a:pt x="432" y="201"/>
                </a:cubicBezTo>
                <a:cubicBezTo>
                  <a:pt x="424" y="198"/>
                  <a:pt x="417" y="194"/>
                  <a:pt x="411" y="188"/>
                </a:cubicBezTo>
                <a:cubicBezTo>
                  <a:pt x="405" y="183"/>
                  <a:pt x="401" y="176"/>
                  <a:pt x="398" y="167"/>
                </a:cubicBezTo>
                <a:cubicBezTo>
                  <a:pt x="394" y="159"/>
                  <a:pt x="393" y="150"/>
                  <a:pt x="393" y="139"/>
                </a:cubicBezTo>
                <a:cubicBezTo>
                  <a:pt x="393" y="129"/>
                  <a:pt x="395" y="120"/>
                  <a:pt x="398" y="112"/>
                </a:cubicBezTo>
                <a:cubicBezTo>
                  <a:pt x="402" y="104"/>
                  <a:pt x="406" y="96"/>
                  <a:pt x="413" y="90"/>
                </a:cubicBezTo>
                <a:cubicBezTo>
                  <a:pt x="419" y="85"/>
                  <a:pt x="427" y="80"/>
                  <a:pt x="435" y="77"/>
                </a:cubicBezTo>
                <a:cubicBezTo>
                  <a:pt x="444" y="73"/>
                  <a:pt x="454" y="72"/>
                  <a:pt x="464" y="72"/>
                </a:cubicBezTo>
                <a:cubicBezTo>
                  <a:pt x="468" y="72"/>
                  <a:pt x="472" y="72"/>
                  <a:pt x="476" y="72"/>
                </a:cubicBezTo>
                <a:cubicBezTo>
                  <a:pt x="480" y="73"/>
                  <a:pt x="484" y="74"/>
                  <a:pt x="487" y="75"/>
                </a:cubicBezTo>
                <a:cubicBezTo>
                  <a:pt x="491" y="76"/>
                  <a:pt x="495" y="77"/>
                  <a:pt x="498" y="78"/>
                </a:cubicBezTo>
                <a:cubicBezTo>
                  <a:pt x="501" y="79"/>
                  <a:pt x="504" y="81"/>
                  <a:pt x="507" y="82"/>
                </a:cubicBezTo>
                <a:cubicBezTo>
                  <a:pt x="493" y="109"/>
                  <a:pt x="493" y="109"/>
                  <a:pt x="493" y="109"/>
                </a:cubicBezTo>
                <a:cubicBezTo>
                  <a:pt x="490" y="108"/>
                  <a:pt x="488" y="107"/>
                  <a:pt x="486" y="106"/>
                </a:cubicBezTo>
                <a:cubicBezTo>
                  <a:pt x="484" y="105"/>
                  <a:pt x="482" y="104"/>
                  <a:pt x="480" y="104"/>
                </a:cubicBezTo>
                <a:cubicBezTo>
                  <a:pt x="478" y="103"/>
                  <a:pt x="476" y="103"/>
                  <a:pt x="474" y="102"/>
                </a:cubicBezTo>
                <a:cubicBezTo>
                  <a:pt x="472" y="102"/>
                  <a:pt x="469" y="102"/>
                  <a:pt x="466" y="102"/>
                </a:cubicBezTo>
                <a:cubicBezTo>
                  <a:pt x="455" y="102"/>
                  <a:pt x="445" y="105"/>
                  <a:pt x="439" y="112"/>
                </a:cubicBezTo>
                <a:cubicBezTo>
                  <a:pt x="432" y="118"/>
                  <a:pt x="428" y="127"/>
                  <a:pt x="428" y="139"/>
                </a:cubicBezTo>
                <a:cubicBezTo>
                  <a:pt x="428" y="144"/>
                  <a:pt x="429" y="149"/>
                  <a:pt x="431" y="154"/>
                </a:cubicBezTo>
                <a:cubicBezTo>
                  <a:pt x="433" y="158"/>
                  <a:pt x="435" y="162"/>
                  <a:pt x="438" y="165"/>
                </a:cubicBezTo>
                <a:cubicBezTo>
                  <a:pt x="441" y="168"/>
                  <a:pt x="445" y="171"/>
                  <a:pt x="449" y="173"/>
                </a:cubicBezTo>
                <a:cubicBezTo>
                  <a:pt x="454" y="175"/>
                  <a:pt x="459" y="175"/>
                  <a:pt x="464" y="175"/>
                </a:cubicBezTo>
                <a:cubicBezTo>
                  <a:pt x="469" y="175"/>
                  <a:pt x="474" y="175"/>
                  <a:pt x="479" y="173"/>
                </a:cubicBezTo>
                <a:cubicBezTo>
                  <a:pt x="484" y="171"/>
                  <a:pt x="489" y="168"/>
                  <a:pt x="493" y="165"/>
                </a:cubicBezTo>
                <a:lnTo>
                  <a:pt x="507" y="192"/>
                </a:lnTo>
                <a:close/>
                <a:moveTo>
                  <a:pt x="126" y="2"/>
                </a:moveTo>
                <a:cubicBezTo>
                  <a:pt x="130" y="1"/>
                  <a:pt x="133" y="1"/>
                  <a:pt x="137" y="0"/>
                </a:cubicBezTo>
                <a:cubicBezTo>
                  <a:pt x="154" y="95"/>
                  <a:pt x="154" y="95"/>
                  <a:pt x="154" y="95"/>
                </a:cubicBezTo>
                <a:cubicBezTo>
                  <a:pt x="150" y="96"/>
                  <a:pt x="146" y="96"/>
                  <a:pt x="143" y="97"/>
                </a:cubicBezTo>
                <a:lnTo>
                  <a:pt x="126" y="2"/>
                </a:lnTo>
                <a:close/>
                <a:moveTo>
                  <a:pt x="122" y="107"/>
                </a:moveTo>
                <a:cubicBezTo>
                  <a:pt x="126" y="105"/>
                  <a:pt x="129" y="102"/>
                  <a:pt x="133" y="101"/>
                </a:cubicBezTo>
                <a:cubicBezTo>
                  <a:pt x="85" y="17"/>
                  <a:pt x="85" y="17"/>
                  <a:pt x="85" y="17"/>
                </a:cubicBezTo>
                <a:cubicBezTo>
                  <a:pt x="82" y="19"/>
                  <a:pt x="78" y="21"/>
                  <a:pt x="74" y="24"/>
                </a:cubicBezTo>
                <a:lnTo>
                  <a:pt x="122" y="107"/>
                </a:lnTo>
                <a:close/>
                <a:moveTo>
                  <a:pt x="95" y="160"/>
                </a:moveTo>
                <a:cubicBezTo>
                  <a:pt x="95" y="156"/>
                  <a:pt x="95" y="153"/>
                  <a:pt x="96" y="149"/>
                </a:cubicBezTo>
                <a:cubicBezTo>
                  <a:pt x="0" y="149"/>
                  <a:pt x="0" y="149"/>
                  <a:pt x="0" y="149"/>
                </a:cubicBezTo>
                <a:cubicBezTo>
                  <a:pt x="0" y="152"/>
                  <a:pt x="0" y="156"/>
                  <a:pt x="0" y="159"/>
                </a:cubicBezTo>
                <a:cubicBezTo>
                  <a:pt x="0" y="162"/>
                  <a:pt x="0" y="165"/>
                  <a:pt x="0" y="169"/>
                </a:cubicBezTo>
                <a:cubicBezTo>
                  <a:pt x="95" y="169"/>
                  <a:pt x="95" y="169"/>
                  <a:pt x="95" y="169"/>
                </a:cubicBezTo>
                <a:cubicBezTo>
                  <a:pt x="95" y="166"/>
                  <a:pt x="95" y="163"/>
                  <a:pt x="95" y="160"/>
                </a:cubicBezTo>
                <a:moveTo>
                  <a:pt x="224" y="160"/>
                </a:moveTo>
                <a:cubicBezTo>
                  <a:pt x="224" y="195"/>
                  <a:pt x="195" y="224"/>
                  <a:pt x="159" y="224"/>
                </a:cubicBezTo>
                <a:cubicBezTo>
                  <a:pt x="128" y="224"/>
                  <a:pt x="101" y="201"/>
                  <a:pt x="96" y="171"/>
                </a:cubicBezTo>
                <a:cubicBezTo>
                  <a:pt x="6" y="203"/>
                  <a:pt x="6" y="203"/>
                  <a:pt x="6" y="203"/>
                </a:cubicBezTo>
                <a:cubicBezTo>
                  <a:pt x="8" y="210"/>
                  <a:pt x="11" y="217"/>
                  <a:pt x="14" y="224"/>
                </a:cubicBezTo>
                <a:cubicBezTo>
                  <a:pt x="103" y="191"/>
                  <a:pt x="103" y="191"/>
                  <a:pt x="103" y="191"/>
                </a:cubicBezTo>
                <a:cubicBezTo>
                  <a:pt x="30" y="253"/>
                  <a:pt x="30" y="253"/>
                  <a:pt x="30" y="253"/>
                </a:cubicBezTo>
                <a:cubicBezTo>
                  <a:pt x="34" y="259"/>
                  <a:pt x="40" y="265"/>
                  <a:pt x="45" y="271"/>
                </a:cubicBezTo>
                <a:cubicBezTo>
                  <a:pt x="113" y="213"/>
                  <a:pt x="113" y="213"/>
                  <a:pt x="113" y="213"/>
                </a:cubicBezTo>
                <a:cubicBezTo>
                  <a:pt x="69" y="291"/>
                  <a:pt x="69" y="291"/>
                  <a:pt x="69" y="291"/>
                </a:cubicBezTo>
                <a:cubicBezTo>
                  <a:pt x="76" y="296"/>
                  <a:pt x="83" y="300"/>
                  <a:pt x="91" y="304"/>
                </a:cubicBezTo>
                <a:cubicBezTo>
                  <a:pt x="133" y="231"/>
                  <a:pt x="133" y="231"/>
                  <a:pt x="133" y="231"/>
                </a:cubicBezTo>
                <a:cubicBezTo>
                  <a:pt x="118" y="314"/>
                  <a:pt x="118" y="314"/>
                  <a:pt x="118" y="314"/>
                </a:cubicBezTo>
                <a:cubicBezTo>
                  <a:pt x="127" y="317"/>
                  <a:pt x="136" y="318"/>
                  <a:pt x="146" y="319"/>
                </a:cubicBezTo>
                <a:cubicBezTo>
                  <a:pt x="159" y="241"/>
                  <a:pt x="159" y="241"/>
                  <a:pt x="159" y="241"/>
                </a:cubicBezTo>
                <a:cubicBezTo>
                  <a:pt x="173" y="319"/>
                  <a:pt x="173" y="319"/>
                  <a:pt x="173" y="319"/>
                </a:cubicBezTo>
                <a:cubicBezTo>
                  <a:pt x="183" y="318"/>
                  <a:pt x="192" y="317"/>
                  <a:pt x="202" y="314"/>
                </a:cubicBezTo>
                <a:cubicBezTo>
                  <a:pt x="189" y="242"/>
                  <a:pt x="189" y="242"/>
                  <a:pt x="189" y="242"/>
                </a:cubicBezTo>
                <a:cubicBezTo>
                  <a:pt x="225" y="305"/>
                  <a:pt x="225" y="305"/>
                  <a:pt x="225" y="305"/>
                </a:cubicBezTo>
                <a:cubicBezTo>
                  <a:pt x="235" y="301"/>
                  <a:pt x="245" y="295"/>
                  <a:pt x="253" y="289"/>
                </a:cubicBezTo>
                <a:cubicBezTo>
                  <a:pt x="220" y="231"/>
                  <a:pt x="220" y="231"/>
                  <a:pt x="220" y="231"/>
                </a:cubicBezTo>
                <a:cubicBezTo>
                  <a:pt x="271" y="274"/>
                  <a:pt x="271" y="274"/>
                  <a:pt x="271" y="274"/>
                </a:cubicBezTo>
                <a:cubicBezTo>
                  <a:pt x="279" y="266"/>
                  <a:pt x="286" y="257"/>
                  <a:pt x="293" y="247"/>
                </a:cubicBezTo>
                <a:cubicBezTo>
                  <a:pt x="247" y="209"/>
                  <a:pt x="247" y="209"/>
                  <a:pt x="247" y="209"/>
                </a:cubicBezTo>
                <a:cubicBezTo>
                  <a:pt x="303" y="229"/>
                  <a:pt x="303" y="229"/>
                  <a:pt x="303" y="229"/>
                </a:cubicBezTo>
                <a:cubicBezTo>
                  <a:pt x="308" y="219"/>
                  <a:pt x="312" y="207"/>
                  <a:pt x="315" y="195"/>
                </a:cubicBezTo>
                <a:cubicBezTo>
                  <a:pt x="266" y="177"/>
                  <a:pt x="266" y="177"/>
                  <a:pt x="266" y="177"/>
                </a:cubicBezTo>
                <a:cubicBezTo>
                  <a:pt x="318" y="177"/>
                  <a:pt x="318" y="177"/>
                  <a:pt x="318" y="177"/>
                </a:cubicBezTo>
                <a:cubicBezTo>
                  <a:pt x="319" y="171"/>
                  <a:pt x="319" y="165"/>
                  <a:pt x="319" y="159"/>
                </a:cubicBezTo>
                <a:cubicBezTo>
                  <a:pt x="319" y="152"/>
                  <a:pt x="318" y="145"/>
                  <a:pt x="317" y="138"/>
                </a:cubicBezTo>
                <a:cubicBezTo>
                  <a:pt x="220" y="138"/>
                  <a:pt x="220" y="138"/>
                  <a:pt x="220" y="138"/>
                </a:cubicBezTo>
                <a:cubicBezTo>
                  <a:pt x="223" y="145"/>
                  <a:pt x="224" y="152"/>
                  <a:pt x="224" y="160"/>
                </a:cubicBezTo>
                <a:moveTo>
                  <a:pt x="97" y="145"/>
                </a:moveTo>
                <a:cubicBezTo>
                  <a:pt x="98" y="139"/>
                  <a:pt x="100" y="134"/>
                  <a:pt x="103" y="129"/>
                </a:cubicBezTo>
                <a:cubicBezTo>
                  <a:pt x="13" y="96"/>
                  <a:pt x="13" y="96"/>
                  <a:pt x="13" y="96"/>
                </a:cubicBezTo>
                <a:cubicBezTo>
                  <a:pt x="11" y="101"/>
                  <a:pt x="9" y="107"/>
                  <a:pt x="7" y="112"/>
                </a:cubicBezTo>
                <a:lnTo>
                  <a:pt x="97" y="145"/>
                </a:lnTo>
                <a:close/>
                <a:moveTo>
                  <a:pt x="280" y="54"/>
                </a:moveTo>
                <a:cubicBezTo>
                  <a:pt x="207" y="115"/>
                  <a:pt x="207" y="115"/>
                  <a:pt x="207" y="115"/>
                </a:cubicBezTo>
                <a:cubicBezTo>
                  <a:pt x="208" y="117"/>
                  <a:pt x="210" y="119"/>
                  <a:pt x="212" y="121"/>
                </a:cubicBezTo>
                <a:cubicBezTo>
                  <a:pt x="285" y="60"/>
                  <a:pt x="285" y="60"/>
                  <a:pt x="285" y="60"/>
                </a:cubicBezTo>
                <a:cubicBezTo>
                  <a:pt x="283" y="58"/>
                  <a:pt x="281" y="56"/>
                  <a:pt x="280" y="54"/>
                </a:cubicBezTo>
                <a:moveTo>
                  <a:pt x="243" y="23"/>
                </a:moveTo>
                <a:cubicBezTo>
                  <a:pt x="241" y="21"/>
                  <a:pt x="238" y="20"/>
                  <a:pt x="236" y="18"/>
                </a:cubicBezTo>
                <a:cubicBezTo>
                  <a:pt x="188" y="102"/>
                  <a:pt x="188" y="102"/>
                  <a:pt x="188" y="102"/>
                </a:cubicBezTo>
                <a:cubicBezTo>
                  <a:pt x="190" y="103"/>
                  <a:pt x="193" y="104"/>
                  <a:pt x="196" y="106"/>
                </a:cubicBezTo>
                <a:lnTo>
                  <a:pt x="243" y="23"/>
                </a:lnTo>
                <a:close/>
                <a:moveTo>
                  <a:pt x="116" y="112"/>
                </a:moveTo>
                <a:cubicBezTo>
                  <a:pt x="42" y="50"/>
                  <a:pt x="42" y="50"/>
                  <a:pt x="42" y="50"/>
                </a:cubicBezTo>
                <a:cubicBezTo>
                  <a:pt x="39" y="54"/>
                  <a:pt x="36" y="58"/>
                  <a:pt x="33" y="62"/>
                </a:cubicBezTo>
                <a:cubicBezTo>
                  <a:pt x="106" y="124"/>
                  <a:pt x="106" y="124"/>
                  <a:pt x="106" y="124"/>
                </a:cubicBezTo>
                <a:cubicBezTo>
                  <a:pt x="109" y="119"/>
                  <a:pt x="112" y="116"/>
                  <a:pt x="116" y="112"/>
                </a:cubicBezTo>
                <a:moveTo>
                  <a:pt x="166" y="95"/>
                </a:moveTo>
                <a:cubicBezTo>
                  <a:pt x="169" y="96"/>
                  <a:pt x="172" y="96"/>
                  <a:pt x="175" y="97"/>
                </a:cubicBezTo>
                <a:cubicBezTo>
                  <a:pt x="192" y="2"/>
                  <a:pt x="192" y="2"/>
                  <a:pt x="192" y="2"/>
                </a:cubicBezTo>
                <a:cubicBezTo>
                  <a:pt x="189" y="1"/>
                  <a:pt x="186" y="1"/>
                  <a:pt x="183" y="0"/>
                </a:cubicBezTo>
                <a:lnTo>
                  <a:pt x="166" y="95"/>
                </a:lnTo>
                <a:close/>
              </a:path>
            </a:pathLst>
          </a:custGeom>
          <a:solidFill>
            <a:schemeClr val="tx1"/>
          </a:solidFill>
          <a:ln>
            <a:noFill/>
          </a:ln>
        </p:spPr>
        <p:txBody>
          <a:bodyPr vert="horz" wrap="square" lIns="121888" tIns="60944" rIns="121888" bIns="60944" numCol="1" anchor="t" anchorCtr="0" compatLnSpc="1">
            <a:prstTxWarp prst="textNoShape">
              <a:avLst/>
            </a:prstTxWarp>
          </a:bodyPr>
          <a:lstStyle/>
          <a:p>
            <a:endParaRPr lang="en-US" sz="3199"/>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3" name="Footer Placeholder 2">
            <a:extLst>
              <a:ext uri="{FF2B5EF4-FFF2-40B4-BE49-F238E27FC236}">
                <a16:creationId xmlns:a16="http://schemas.microsoft.com/office/drawing/2014/main" id="{3C75B21E-0BD8-F94F-ABE9-B059D58347A6}"/>
              </a:ext>
            </a:extLst>
          </p:cNvPr>
          <p:cNvSpPr>
            <a:spLocks noGrp="1"/>
          </p:cNvSpPr>
          <p:nvPr>
            <p:ph type="ftr" sz="quarter" idx="16"/>
          </p:nvPr>
        </p:nvSpPr>
        <p:spPr/>
        <p:txBody>
          <a:bodyPr/>
          <a:lstStyle/>
          <a:p>
            <a:r>
              <a:rPr lang="en-US" dirty="0">
                <a:cs typeface="DIN-Light"/>
              </a:rPr>
              <a:t>© 2022 </a:t>
            </a:r>
            <a:r>
              <a:rPr lang="en-US" dirty="0"/>
              <a:t>Collins Aerospace.  | Collins Aerospace Proprietary.  |  This document does not include any export controlled technical data.</a:t>
            </a:r>
          </a:p>
        </p:txBody>
      </p:sp>
    </p:spTree>
    <p:extLst>
      <p:ext uri="{BB962C8B-B14F-4D97-AF65-F5344CB8AC3E}">
        <p14:creationId xmlns:p14="http://schemas.microsoft.com/office/powerpoint/2010/main" val="2221402672"/>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983675639"/>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351571035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6035490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29229529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435326140"/>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2_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3856584506"/>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505438448"/>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llins Section Break">
    <p:spTree>
      <p:nvGrpSpPr>
        <p:cNvPr id="1" name=""/>
        <p:cNvGrpSpPr/>
        <p:nvPr/>
      </p:nvGrpSpPr>
      <p:grpSpPr>
        <a:xfrm>
          <a:off x="0" y="0"/>
          <a:ext cx="0" cy="0"/>
          <a:chOff x="0" y="0"/>
          <a:chExt cx="0" cy="0"/>
        </a:xfrm>
      </p:grpSpPr>
      <p:sp>
        <p:nvSpPr>
          <p:cNvPr id="9"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Presenters"/>
          <p:cNvSpPr>
            <a:spLocks noGrp="1"/>
          </p:cNvSpPr>
          <p:nvPr>
            <p:ph type="body" sz="quarter" idx="13" hasCustomPrompt="1"/>
          </p:nvPr>
        </p:nvSpPr>
        <p:spPr>
          <a:xfrm>
            <a:off x="694943" y="5387546"/>
            <a:ext cx="8980931" cy="380208"/>
          </a:xfrm>
          <a:noFill/>
        </p:spPr>
        <p:txBody>
          <a:bodyPr vert="horz" lIns="0" tIns="0" rIns="0" bIns="0" rtlCol="0" anchor="b" anchorCtr="0">
            <a:no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Sentence case.</a:t>
            </a:r>
          </a:p>
        </p:txBody>
      </p:sp>
      <p:sp>
        <p:nvSpPr>
          <p:cNvPr id="5" name="Freeform 4">
            <a:extLst>
              <a:ext uri="{FF2B5EF4-FFF2-40B4-BE49-F238E27FC236}">
                <a16:creationId xmlns:a16="http://schemas.microsoft.com/office/drawing/2014/main" id="{007B205E-F640-7242-8F99-8DBCDE90BFA9}"/>
              </a:ext>
            </a:extLst>
          </p:cNvPr>
          <p:cNvSpPr/>
          <p:nvPr userDrawn="1"/>
        </p:nvSpPr>
        <p:spPr>
          <a:xfrm>
            <a:off x="358346" y="345295"/>
            <a:ext cx="11479427" cy="5598305"/>
          </a:xfrm>
          <a:custGeom>
            <a:avLst/>
            <a:gdLst>
              <a:gd name="connsiteX0" fmla="*/ 385314 w 8620665"/>
              <a:gd name="connsiteY0" fmla="*/ 0 h 4014159"/>
              <a:gd name="connsiteX1" fmla="*/ 8620665 w 8620665"/>
              <a:gd name="connsiteY1" fmla="*/ 0 h 4014159"/>
              <a:gd name="connsiteX2" fmla="*/ 8620665 w 8620665"/>
              <a:gd name="connsiteY2" fmla="*/ 4014159 h 4014159"/>
              <a:gd name="connsiteX3" fmla="*/ 0 w 8620665"/>
              <a:gd name="connsiteY3" fmla="*/ 4014159 h 4014159"/>
              <a:gd name="connsiteX4" fmla="*/ 0 w 8620665"/>
              <a:gd name="connsiteY4" fmla="*/ 408317 h 4014159"/>
              <a:gd name="connsiteX0" fmla="*/ 304632 w 8620665"/>
              <a:gd name="connsiteY0" fmla="*/ 8965 h 4014159"/>
              <a:gd name="connsiteX1" fmla="*/ 8620665 w 8620665"/>
              <a:gd name="connsiteY1" fmla="*/ 0 h 4014159"/>
              <a:gd name="connsiteX2" fmla="*/ 8620665 w 8620665"/>
              <a:gd name="connsiteY2" fmla="*/ 4014159 h 4014159"/>
              <a:gd name="connsiteX3" fmla="*/ 0 w 8620665"/>
              <a:gd name="connsiteY3" fmla="*/ 4014159 h 4014159"/>
              <a:gd name="connsiteX4" fmla="*/ 0 w 8620665"/>
              <a:gd name="connsiteY4" fmla="*/ 408317 h 401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0665" h="4014159">
                <a:moveTo>
                  <a:pt x="304632" y="8965"/>
                </a:moveTo>
                <a:lnTo>
                  <a:pt x="8620665" y="0"/>
                </a:lnTo>
                <a:lnTo>
                  <a:pt x="8620665" y="4014159"/>
                </a:lnTo>
                <a:lnTo>
                  <a:pt x="0" y="4014159"/>
                </a:lnTo>
                <a:lnTo>
                  <a:pt x="0" y="408317"/>
                </a:lnTo>
              </a:path>
            </a:pathLst>
          </a:custGeom>
          <a:noFill/>
          <a:ln w="19050">
            <a:solidFill>
              <a:srgbClr val="CE1126"/>
            </a:solidFill>
            <a:headEnd type="oval"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8" name="Section title">
            <a:extLst>
              <a:ext uri="{FF2B5EF4-FFF2-40B4-BE49-F238E27FC236}">
                <a16:creationId xmlns:a16="http://schemas.microsoft.com/office/drawing/2014/main" id="{FB96A9C0-602E-4E40-BB2F-1E0A929E9E44}"/>
              </a:ext>
            </a:extLst>
          </p:cNvPr>
          <p:cNvSpPr>
            <a:spLocks noGrp="1"/>
          </p:cNvSpPr>
          <p:nvPr>
            <p:ph type="title" hasCustomPrompt="1"/>
          </p:nvPr>
        </p:nvSpPr>
        <p:spPr>
          <a:xfrm>
            <a:off x="694944" y="2854411"/>
            <a:ext cx="8980931" cy="2533135"/>
          </a:xfrm>
          <a:noFill/>
        </p:spPr>
        <p:txBody>
          <a:bodyPr vert="horz" wrap="square" lIns="0" tIns="0" rIns="0" bIns="0" rtlCol="0" anchor="b" anchorCtr="0">
            <a:noAutofit/>
          </a:bodyPr>
          <a:lstStyle>
            <a:lvl1pPr>
              <a:defRPr lang="en-US" sz="4500" b="0" cap="all" baseline="0" dirty="0">
                <a:latin typeface="Arial" panose="020B0604020202020204" pitchFamily="34" charset="0"/>
                <a:ea typeface="+mn-ea"/>
                <a:cs typeface="Arial" panose="020B0604020202020204" pitchFamily="34" charset="0"/>
              </a:defRPr>
            </a:lvl1pPr>
          </a:lstStyle>
          <a:p>
            <a:pPr marL="0" lvl="0">
              <a:spcBef>
                <a:spcPts val="1000"/>
              </a:spcBef>
              <a:buSzPct val="115000"/>
              <a:buFont typeface="Arial" panose="020B0604020202020204" pitchFamily="34" charset="0"/>
            </a:pPr>
            <a:r>
              <a:rPr lang="en-US" dirty="0"/>
              <a:t>SECTION TITLE. 45 PT. BLACK. REGULAR. UPPERCASE</a:t>
            </a:r>
          </a:p>
        </p:txBody>
      </p:sp>
      <p:sp>
        <p:nvSpPr>
          <p:cNvPr id="2" name="Footer Placeholder 1">
            <a:extLst>
              <a:ext uri="{FF2B5EF4-FFF2-40B4-BE49-F238E27FC236}">
                <a16:creationId xmlns:a16="http://schemas.microsoft.com/office/drawing/2014/main" id="{A31D75C1-9F8C-0245-BAA7-15A97DC4E16F}"/>
              </a:ext>
            </a:extLst>
          </p:cNvPr>
          <p:cNvSpPr>
            <a:spLocks noGrp="1"/>
          </p:cNvSpPr>
          <p:nvPr>
            <p:ph type="ftr" sz="quarter" idx="14"/>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4061451187"/>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694796094"/>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llins Cover: Military JTA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CF0772C-4F06-5740-8477-5DD44F33AC88}"/>
              </a:ext>
            </a:extLst>
          </p:cNvPr>
          <p:cNvPicPr>
            <a:picLocks noChangeAspect="1"/>
          </p:cNvPicPr>
          <p:nvPr userDrawn="1"/>
        </p:nvPicPr>
        <p:blipFill>
          <a:blip r:embed="rId2"/>
          <a:stretch>
            <a:fillRect/>
          </a:stretch>
        </p:blipFill>
        <p:spPr>
          <a:xfrm>
            <a:off x="3175" y="0"/>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8" name="Graphic 7">
            <a:extLst>
              <a:ext uri="{FF2B5EF4-FFF2-40B4-BE49-F238E27FC236}">
                <a16:creationId xmlns:a16="http://schemas.microsoft.com/office/drawing/2014/main" id="{4AAEFDDF-E94C-534C-B962-F3657664643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71038D9C-104A-C24D-AB2E-5EAAFDCF97F0}"/>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237078794"/>
      </p:ext>
    </p:extLst>
  </p:cSld>
  <p:clrMapOvr>
    <a:masterClrMapping/>
  </p:clrMapOvr>
  <p:extLst>
    <p:ext uri="{DCECCB84-F9BA-43D5-87BE-67443E8EF086}">
      <p15:sldGuideLst xmlns:p15="http://schemas.microsoft.com/office/powerpoint/2012/main">
        <p15:guide id="1" orient="horz" pos="3552" userDrawn="1">
          <p15:clr>
            <a:srgbClr val="FBAE40"/>
          </p15:clr>
        </p15:guide>
        <p15:guide id="2" orient="horz" pos="3144"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2311489177"/>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1" y="1535114"/>
            <a:ext cx="5386917"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4" name="Content Placeholder 3"/>
          <p:cNvSpPr>
            <a:spLocks noGrp="1"/>
          </p:cNvSpPr>
          <p:nvPr>
            <p:ph sz="half" idx="2"/>
          </p:nvPr>
        </p:nvSpPr>
        <p:spPr>
          <a:xfrm>
            <a:off x="609601" y="2174875"/>
            <a:ext cx="5386917" cy="3013971"/>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6" name="Content Placeholder 5"/>
          <p:cNvSpPr>
            <a:spLocks noGrp="1"/>
          </p:cNvSpPr>
          <p:nvPr>
            <p:ph sz="quarter" idx="4"/>
          </p:nvPr>
        </p:nvSpPr>
        <p:spPr>
          <a:xfrm>
            <a:off x="6193368" y="2174874"/>
            <a:ext cx="5389033" cy="2921349"/>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xfrm>
            <a:off x="4049037" y="5466718"/>
            <a:ext cx="3860800" cy="244475"/>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3561914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ollins Cover: Military - C-130H">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4BFDA5F-0D24-CF41-8117-AC1C5A13E31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sp>
        <p:nvSpPr>
          <p:cNvPr id="9" name="Logo">
            <a:extLst>
              <a:ext uri="{FF2B5EF4-FFF2-40B4-BE49-F238E27FC236}">
                <a16:creationId xmlns:a16="http://schemas.microsoft.com/office/drawing/2014/main" id="{FB6B4263-0223-C444-A148-BC527D99CBD1}"/>
              </a:ext>
            </a:extLst>
          </p:cNvPr>
          <p:cNvSpPr>
            <a:spLocks noChangeAspect="1" noEditPoints="1"/>
          </p:cNvSpPr>
          <p:nvPr userDrawn="1"/>
        </p:nvSpPr>
        <p:spPr bwMode="auto">
          <a:xfrm>
            <a:off x="472097" y="5520829"/>
            <a:ext cx="3071203" cy="520212"/>
          </a:xfrm>
          <a:custGeom>
            <a:avLst/>
            <a:gdLst>
              <a:gd name="T0" fmla="*/ 1871 w 1887"/>
              <a:gd name="T1" fmla="*/ 204 h 319"/>
              <a:gd name="T2" fmla="*/ 1811 w 1887"/>
              <a:gd name="T3" fmla="*/ 126 h 319"/>
              <a:gd name="T4" fmla="*/ 1886 w 1887"/>
              <a:gd name="T5" fmla="*/ 168 h 319"/>
              <a:gd name="T6" fmla="*/ 1779 w 1887"/>
              <a:gd name="T7" fmla="*/ 204 h 319"/>
              <a:gd name="T8" fmla="*/ 1728 w 1887"/>
              <a:gd name="T9" fmla="*/ 126 h 319"/>
              <a:gd name="T10" fmla="*/ 1751 w 1887"/>
              <a:gd name="T11" fmla="*/ 146 h 319"/>
              <a:gd name="T12" fmla="*/ 1656 w 1887"/>
              <a:gd name="T13" fmla="*/ 179 h 319"/>
              <a:gd name="T14" fmla="*/ 1643 w 1887"/>
              <a:gd name="T15" fmla="*/ 174 h 319"/>
              <a:gd name="T16" fmla="*/ 1611 w 1887"/>
              <a:gd name="T17" fmla="*/ 141 h 319"/>
              <a:gd name="T18" fmla="*/ 1703 w 1887"/>
              <a:gd name="T19" fmla="*/ 115 h 319"/>
              <a:gd name="T20" fmla="*/ 1562 w 1887"/>
              <a:gd name="T21" fmla="*/ 174 h 319"/>
              <a:gd name="T22" fmla="*/ 1549 w 1887"/>
              <a:gd name="T23" fmla="*/ 179 h 319"/>
              <a:gd name="T24" fmla="*/ 1587 w 1887"/>
              <a:gd name="T25" fmla="*/ 126 h 319"/>
              <a:gd name="T26" fmla="*/ 1543 w 1887"/>
              <a:gd name="T27" fmla="*/ 204 h 319"/>
              <a:gd name="T28" fmla="*/ 1448 w 1887"/>
              <a:gd name="T29" fmla="*/ 145 h 319"/>
              <a:gd name="T30" fmla="*/ 1414 w 1887"/>
              <a:gd name="T31" fmla="*/ 198 h 319"/>
              <a:gd name="T32" fmla="*/ 1452 w 1887"/>
              <a:gd name="T33" fmla="*/ 173 h 319"/>
              <a:gd name="T34" fmla="*/ 1453 w 1887"/>
              <a:gd name="T35" fmla="*/ 113 h 319"/>
              <a:gd name="T36" fmla="*/ 1370 w 1887"/>
              <a:gd name="T37" fmla="*/ 175 h 319"/>
              <a:gd name="T38" fmla="*/ 1356 w 1887"/>
              <a:gd name="T39" fmla="*/ 181 h 319"/>
              <a:gd name="T40" fmla="*/ 1321 w 1887"/>
              <a:gd name="T41" fmla="*/ 126 h 319"/>
              <a:gd name="T42" fmla="*/ 1401 w 1887"/>
              <a:gd name="T43" fmla="*/ 178 h 319"/>
              <a:gd name="T44" fmla="*/ 1278 w 1887"/>
              <a:gd name="T45" fmla="*/ 118 h 319"/>
              <a:gd name="T46" fmla="*/ 1270 w 1887"/>
              <a:gd name="T47" fmla="*/ 204 h 319"/>
              <a:gd name="T48" fmla="*/ 1195 w 1887"/>
              <a:gd name="T49" fmla="*/ 150 h 319"/>
              <a:gd name="T50" fmla="*/ 1134 w 1887"/>
              <a:gd name="T51" fmla="*/ 160 h 319"/>
              <a:gd name="T52" fmla="*/ 1221 w 1887"/>
              <a:gd name="T53" fmla="*/ 138 h 319"/>
              <a:gd name="T54" fmla="*/ 1224 w 1887"/>
              <a:gd name="T55" fmla="*/ 197 h 319"/>
              <a:gd name="T56" fmla="*/ 1133 w 1887"/>
              <a:gd name="T57" fmla="*/ 204 h 319"/>
              <a:gd name="T58" fmla="*/ 921 w 1887"/>
              <a:gd name="T59" fmla="*/ 135 h 319"/>
              <a:gd name="T60" fmla="*/ 915 w 1887"/>
              <a:gd name="T61" fmla="*/ 207 h 319"/>
              <a:gd name="T62" fmla="*/ 924 w 1887"/>
              <a:gd name="T63" fmla="*/ 176 h 319"/>
              <a:gd name="T64" fmla="*/ 881 w 1887"/>
              <a:gd name="T65" fmla="*/ 141 h 319"/>
              <a:gd name="T66" fmla="*/ 921 w 1887"/>
              <a:gd name="T67" fmla="*/ 135 h 319"/>
              <a:gd name="T68" fmla="*/ 866 w 1887"/>
              <a:gd name="T69" fmla="*/ 150 h 319"/>
              <a:gd name="T70" fmla="*/ 810 w 1887"/>
              <a:gd name="T71" fmla="*/ 204 h 319"/>
              <a:gd name="T72" fmla="*/ 729 w 1887"/>
              <a:gd name="T73" fmla="*/ 115 h 319"/>
              <a:gd name="T74" fmla="*/ 762 w 1887"/>
              <a:gd name="T75" fmla="*/ 85 h 319"/>
              <a:gd name="T76" fmla="*/ 676 w 1887"/>
              <a:gd name="T77" fmla="*/ 73 h 319"/>
              <a:gd name="T78" fmla="*/ 578 w 1887"/>
              <a:gd name="T79" fmla="*/ 175 h 319"/>
              <a:gd name="T80" fmla="*/ 564 w 1887"/>
              <a:gd name="T81" fmla="*/ 181 h 319"/>
              <a:gd name="T82" fmla="*/ 529 w 1887"/>
              <a:gd name="T83" fmla="*/ 125 h 319"/>
              <a:gd name="T84" fmla="*/ 609 w 1887"/>
              <a:gd name="T85" fmla="*/ 178 h 319"/>
              <a:gd name="T86" fmla="*/ 432 w 1887"/>
              <a:gd name="T87" fmla="*/ 201 h 319"/>
              <a:gd name="T88" fmla="*/ 464 w 1887"/>
              <a:gd name="T89" fmla="*/ 72 h 319"/>
              <a:gd name="T90" fmla="*/ 480 w 1887"/>
              <a:gd name="T91" fmla="*/ 104 h 319"/>
              <a:gd name="T92" fmla="*/ 449 w 1887"/>
              <a:gd name="T93" fmla="*/ 173 h 319"/>
              <a:gd name="T94" fmla="*/ 154 w 1887"/>
              <a:gd name="T95" fmla="*/ 95 h 319"/>
              <a:gd name="T96" fmla="*/ 122 w 1887"/>
              <a:gd name="T97" fmla="*/ 107 h 319"/>
              <a:gd name="T98" fmla="*/ 95 w 1887"/>
              <a:gd name="T99" fmla="*/ 160 h 319"/>
              <a:gd name="T100" fmla="*/ 30 w 1887"/>
              <a:gd name="T101" fmla="*/ 253 h 319"/>
              <a:gd name="T102" fmla="*/ 146 w 1887"/>
              <a:gd name="T103" fmla="*/ 319 h 319"/>
              <a:gd name="T104" fmla="*/ 220 w 1887"/>
              <a:gd name="T105" fmla="*/ 231 h 319"/>
              <a:gd name="T106" fmla="*/ 318 w 1887"/>
              <a:gd name="T107" fmla="*/ 177 h 319"/>
              <a:gd name="T108" fmla="*/ 13 w 1887"/>
              <a:gd name="T109" fmla="*/ 96 h 319"/>
              <a:gd name="T110" fmla="*/ 280 w 1887"/>
              <a:gd name="T111" fmla="*/ 54 h 319"/>
              <a:gd name="T112" fmla="*/ 42 w 1887"/>
              <a:gd name="T113" fmla="*/ 50 h 319"/>
              <a:gd name="T114" fmla="*/ 183 w 1887"/>
              <a:gd name="T11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7" h="319">
                <a:moveTo>
                  <a:pt x="1859" y="150"/>
                </a:moveTo>
                <a:cubicBezTo>
                  <a:pt x="1858" y="145"/>
                  <a:pt x="1856" y="142"/>
                  <a:pt x="1854" y="139"/>
                </a:cubicBezTo>
                <a:cubicBezTo>
                  <a:pt x="1851" y="136"/>
                  <a:pt x="1848" y="135"/>
                  <a:pt x="1844" y="135"/>
                </a:cubicBezTo>
                <a:cubicBezTo>
                  <a:pt x="1835" y="135"/>
                  <a:pt x="1830" y="140"/>
                  <a:pt x="1828" y="150"/>
                </a:cubicBezTo>
                <a:lnTo>
                  <a:pt x="1859" y="150"/>
                </a:lnTo>
                <a:close/>
                <a:moveTo>
                  <a:pt x="1887" y="197"/>
                </a:moveTo>
                <a:cubicBezTo>
                  <a:pt x="1883" y="200"/>
                  <a:pt x="1877" y="203"/>
                  <a:pt x="1871" y="204"/>
                </a:cubicBezTo>
                <a:cubicBezTo>
                  <a:pt x="1865" y="206"/>
                  <a:pt x="1858" y="207"/>
                  <a:pt x="1851" y="207"/>
                </a:cubicBezTo>
                <a:cubicBezTo>
                  <a:pt x="1843" y="207"/>
                  <a:pt x="1835" y="206"/>
                  <a:pt x="1829" y="203"/>
                </a:cubicBezTo>
                <a:cubicBezTo>
                  <a:pt x="1822" y="201"/>
                  <a:pt x="1817" y="198"/>
                  <a:pt x="1812" y="194"/>
                </a:cubicBezTo>
                <a:cubicBezTo>
                  <a:pt x="1807" y="190"/>
                  <a:pt x="1804" y="185"/>
                  <a:pt x="1801" y="179"/>
                </a:cubicBezTo>
                <a:cubicBezTo>
                  <a:pt x="1799" y="173"/>
                  <a:pt x="1798" y="167"/>
                  <a:pt x="1798" y="160"/>
                </a:cubicBezTo>
                <a:cubicBezTo>
                  <a:pt x="1798" y="153"/>
                  <a:pt x="1799" y="146"/>
                  <a:pt x="1801" y="141"/>
                </a:cubicBezTo>
                <a:cubicBezTo>
                  <a:pt x="1803" y="135"/>
                  <a:pt x="1806" y="130"/>
                  <a:pt x="1811" y="126"/>
                </a:cubicBezTo>
                <a:cubicBezTo>
                  <a:pt x="1815" y="122"/>
                  <a:pt x="1820" y="118"/>
                  <a:pt x="1825" y="116"/>
                </a:cubicBezTo>
                <a:cubicBezTo>
                  <a:pt x="1831" y="114"/>
                  <a:pt x="1837" y="113"/>
                  <a:pt x="1844" y="113"/>
                </a:cubicBezTo>
                <a:cubicBezTo>
                  <a:pt x="1851" y="113"/>
                  <a:pt x="1857" y="114"/>
                  <a:pt x="1862" y="116"/>
                </a:cubicBezTo>
                <a:cubicBezTo>
                  <a:pt x="1867" y="118"/>
                  <a:pt x="1872" y="121"/>
                  <a:pt x="1876" y="125"/>
                </a:cubicBezTo>
                <a:cubicBezTo>
                  <a:pt x="1880" y="128"/>
                  <a:pt x="1882" y="133"/>
                  <a:pt x="1884" y="138"/>
                </a:cubicBezTo>
                <a:cubicBezTo>
                  <a:pt x="1886" y="144"/>
                  <a:pt x="1887" y="150"/>
                  <a:pt x="1887" y="157"/>
                </a:cubicBezTo>
                <a:cubicBezTo>
                  <a:pt x="1887" y="161"/>
                  <a:pt x="1887" y="165"/>
                  <a:pt x="1886" y="168"/>
                </a:cubicBezTo>
                <a:cubicBezTo>
                  <a:pt x="1828" y="168"/>
                  <a:pt x="1828" y="168"/>
                  <a:pt x="1828" y="168"/>
                </a:cubicBezTo>
                <a:cubicBezTo>
                  <a:pt x="1831" y="178"/>
                  <a:pt x="1840" y="183"/>
                  <a:pt x="1854" y="183"/>
                </a:cubicBezTo>
                <a:cubicBezTo>
                  <a:pt x="1858" y="183"/>
                  <a:pt x="1862" y="182"/>
                  <a:pt x="1866" y="181"/>
                </a:cubicBezTo>
                <a:cubicBezTo>
                  <a:pt x="1870" y="180"/>
                  <a:pt x="1874" y="179"/>
                  <a:pt x="1877" y="178"/>
                </a:cubicBezTo>
                <a:lnTo>
                  <a:pt x="1887" y="197"/>
                </a:lnTo>
                <a:close/>
                <a:moveTo>
                  <a:pt x="1794" y="198"/>
                </a:moveTo>
                <a:cubicBezTo>
                  <a:pt x="1790" y="201"/>
                  <a:pt x="1785" y="203"/>
                  <a:pt x="1779" y="204"/>
                </a:cubicBezTo>
                <a:cubicBezTo>
                  <a:pt x="1774" y="206"/>
                  <a:pt x="1769" y="206"/>
                  <a:pt x="1763" y="206"/>
                </a:cubicBezTo>
                <a:cubicBezTo>
                  <a:pt x="1755" y="206"/>
                  <a:pt x="1748" y="205"/>
                  <a:pt x="1742" y="203"/>
                </a:cubicBezTo>
                <a:cubicBezTo>
                  <a:pt x="1736" y="201"/>
                  <a:pt x="1731" y="198"/>
                  <a:pt x="1727" y="194"/>
                </a:cubicBezTo>
                <a:cubicBezTo>
                  <a:pt x="1723" y="190"/>
                  <a:pt x="1719" y="185"/>
                  <a:pt x="1717" y="179"/>
                </a:cubicBezTo>
                <a:cubicBezTo>
                  <a:pt x="1715" y="173"/>
                  <a:pt x="1714" y="167"/>
                  <a:pt x="1714" y="160"/>
                </a:cubicBezTo>
                <a:cubicBezTo>
                  <a:pt x="1714" y="153"/>
                  <a:pt x="1715" y="147"/>
                  <a:pt x="1718" y="141"/>
                </a:cubicBezTo>
                <a:cubicBezTo>
                  <a:pt x="1720" y="135"/>
                  <a:pt x="1723" y="130"/>
                  <a:pt x="1728" y="126"/>
                </a:cubicBezTo>
                <a:cubicBezTo>
                  <a:pt x="1732" y="122"/>
                  <a:pt x="1737" y="119"/>
                  <a:pt x="1743" y="116"/>
                </a:cubicBezTo>
                <a:cubicBezTo>
                  <a:pt x="1749" y="114"/>
                  <a:pt x="1756" y="113"/>
                  <a:pt x="1763" y="113"/>
                </a:cubicBezTo>
                <a:cubicBezTo>
                  <a:pt x="1773" y="113"/>
                  <a:pt x="1781" y="115"/>
                  <a:pt x="1788" y="118"/>
                </a:cubicBezTo>
                <a:cubicBezTo>
                  <a:pt x="1784" y="144"/>
                  <a:pt x="1784" y="144"/>
                  <a:pt x="1784" y="144"/>
                </a:cubicBezTo>
                <a:cubicBezTo>
                  <a:pt x="1782" y="143"/>
                  <a:pt x="1779" y="142"/>
                  <a:pt x="1775" y="141"/>
                </a:cubicBezTo>
                <a:cubicBezTo>
                  <a:pt x="1772" y="141"/>
                  <a:pt x="1769" y="140"/>
                  <a:pt x="1767" y="140"/>
                </a:cubicBezTo>
                <a:cubicBezTo>
                  <a:pt x="1760" y="140"/>
                  <a:pt x="1755" y="142"/>
                  <a:pt x="1751" y="146"/>
                </a:cubicBezTo>
                <a:cubicBezTo>
                  <a:pt x="1747" y="149"/>
                  <a:pt x="1745" y="154"/>
                  <a:pt x="1745" y="160"/>
                </a:cubicBezTo>
                <a:cubicBezTo>
                  <a:pt x="1745" y="166"/>
                  <a:pt x="1747" y="170"/>
                  <a:pt x="1751" y="174"/>
                </a:cubicBezTo>
                <a:cubicBezTo>
                  <a:pt x="1755" y="177"/>
                  <a:pt x="1760" y="179"/>
                  <a:pt x="1767" y="179"/>
                </a:cubicBezTo>
                <a:cubicBezTo>
                  <a:pt x="1770" y="179"/>
                  <a:pt x="1772" y="179"/>
                  <a:pt x="1775" y="178"/>
                </a:cubicBezTo>
                <a:cubicBezTo>
                  <a:pt x="1778" y="178"/>
                  <a:pt x="1780" y="177"/>
                  <a:pt x="1782" y="176"/>
                </a:cubicBezTo>
                <a:lnTo>
                  <a:pt x="1794" y="198"/>
                </a:lnTo>
                <a:close/>
                <a:moveTo>
                  <a:pt x="1656" y="179"/>
                </a:moveTo>
                <a:cubicBezTo>
                  <a:pt x="1662" y="179"/>
                  <a:pt x="1666" y="177"/>
                  <a:pt x="1669" y="174"/>
                </a:cubicBezTo>
                <a:cubicBezTo>
                  <a:pt x="1673" y="170"/>
                  <a:pt x="1674" y="165"/>
                  <a:pt x="1674" y="160"/>
                </a:cubicBezTo>
                <a:cubicBezTo>
                  <a:pt x="1674" y="154"/>
                  <a:pt x="1673" y="149"/>
                  <a:pt x="1669" y="145"/>
                </a:cubicBezTo>
                <a:cubicBezTo>
                  <a:pt x="1666" y="142"/>
                  <a:pt x="1662" y="140"/>
                  <a:pt x="1656" y="140"/>
                </a:cubicBezTo>
                <a:cubicBezTo>
                  <a:pt x="1651" y="140"/>
                  <a:pt x="1647" y="142"/>
                  <a:pt x="1643" y="145"/>
                </a:cubicBezTo>
                <a:cubicBezTo>
                  <a:pt x="1640" y="149"/>
                  <a:pt x="1638" y="154"/>
                  <a:pt x="1638" y="160"/>
                </a:cubicBezTo>
                <a:cubicBezTo>
                  <a:pt x="1638" y="165"/>
                  <a:pt x="1640" y="170"/>
                  <a:pt x="1643" y="174"/>
                </a:cubicBezTo>
                <a:cubicBezTo>
                  <a:pt x="1647" y="177"/>
                  <a:pt x="1651" y="179"/>
                  <a:pt x="1656" y="179"/>
                </a:cubicBezTo>
                <a:moveTo>
                  <a:pt x="1648" y="207"/>
                </a:moveTo>
                <a:cubicBezTo>
                  <a:pt x="1642" y="207"/>
                  <a:pt x="1637" y="206"/>
                  <a:pt x="1632" y="203"/>
                </a:cubicBezTo>
                <a:cubicBezTo>
                  <a:pt x="1627" y="201"/>
                  <a:pt x="1622" y="198"/>
                  <a:pt x="1619" y="194"/>
                </a:cubicBezTo>
                <a:cubicBezTo>
                  <a:pt x="1615" y="189"/>
                  <a:pt x="1613" y="185"/>
                  <a:pt x="1611" y="179"/>
                </a:cubicBezTo>
                <a:cubicBezTo>
                  <a:pt x="1609" y="173"/>
                  <a:pt x="1608" y="167"/>
                  <a:pt x="1608" y="160"/>
                </a:cubicBezTo>
                <a:cubicBezTo>
                  <a:pt x="1608" y="153"/>
                  <a:pt x="1609" y="147"/>
                  <a:pt x="1611" y="141"/>
                </a:cubicBezTo>
                <a:cubicBezTo>
                  <a:pt x="1613" y="135"/>
                  <a:pt x="1616" y="130"/>
                  <a:pt x="1619" y="126"/>
                </a:cubicBezTo>
                <a:cubicBezTo>
                  <a:pt x="1623" y="122"/>
                  <a:pt x="1627" y="119"/>
                  <a:pt x="1633" y="116"/>
                </a:cubicBezTo>
                <a:cubicBezTo>
                  <a:pt x="1638" y="114"/>
                  <a:pt x="1643" y="113"/>
                  <a:pt x="1649" y="113"/>
                </a:cubicBezTo>
                <a:cubicBezTo>
                  <a:pt x="1654" y="113"/>
                  <a:pt x="1659" y="114"/>
                  <a:pt x="1663" y="116"/>
                </a:cubicBezTo>
                <a:cubicBezTo>
                  <a:pt x="1668" y="118"/>
                  <a:pt x="1671" y="122"/>
                  <a:pt x="1674" y="126"/>
                </a:cubicBezTo>
                <a:cubicBezTo>
                  <a:pt x="1674" y="115"/>
                  <a:pt x="1674" y="115"/>
                  <a:pt x="1674" y="115"/>
                </a:cubicBezTo>
                <a:cubicBezTo>
                  <a:pt x="1703" y="115"/>
                  <a:pt x="1703" y="115"/>
                  <a:pt x="1703" y="115"/>
                </a:cubicBezTo>
                <a:cubicBezTo>
                  <a:pt x="1703" y="204"/>
                  <a:pt x="1703" y="204"/>
                  <a:pt x="1703" y="204"/>
                </a:cubicBezTo>
                <a:cubicBezTo>
                  <a:pt x="1674" y="204"/>
                  <a:pt x="1674" y="204"/>
                  <a:pt x="1674" y="204"/>
                </a:cubicBezTo>
                <a:cubicBezTo>
                  <a:pt x="1674" y="194"/>
                  <a:pt x="1674" y="194"/>
                  <a:pt x="1674" y="194"/>
                </a:cubicBezTo>
                <a:cubicBezTo>
                  <a:pt x="1671" y="198"/>
                  <a:pt x="1668" y="201"/>
                  <a:pt x="1663" y="203"/>
                </a:cubicBezTo>
                <a:cubicBezTo>
                  <a:pt x="1659" y="206"/>
                  <a:pt x="1654" y="207"/>
                  <a:pt x="1648" y="207"/>
                </a:cubicBezTo>
                <a:moveTo>
                  <a:pt x="1549" y="179"/>
                </a:moveTo>
                <a:cubicBezTo>
                  <a:pt x="1554" y="179"/>
                  <a:pt x="1559" y="177"/>
                  <a:pt x="1562" y="174"/>
                </a:cubicBezTo>
                <a:cubicBezTo>
                  <a:pt x="1565" y="170"/>
                  <a:pt x="1567" y="165"/>
                  <a:pt x="1567" y="160"/>
                </a:cubicBezTo>
                <a:cubicBezTo>
                  <a:pt x="1567" y="154"/>
                  <a:pt x="1565" y="149"/>
                  <a:pt x="1562" y="145"/>
                </a:cubicBezTo>
                <a:cubicBezTo>
                  <a:pt x="1559" y="142"/>
                  <a:pt x="1554" y="140"/>
                  <a:pt x="1549" y="140"/>
                </a:cubicBezTo>
                <a:cubicBezTo>
                  <a:pt x="1544" y="140"/>
                  <a:pt x="1540" y="142"/>
                  <a:pt x="1536" y="145"/>
                </a:cubicBezTo>
                <a:cubicBezTo>
                  <a:pt x="1533" y="149"/>
                  <a:pt x="1531" y="154"/>
                  <a:pt x="1531" y="160"/>
                </a:cubicBezTo>
                <a:cubicBezTo>
                  <a:pt x="1531" y="165"/>
                  <a:pt x="1533" y="170"/>
                  <a:pt x="1536" y="174"/>
                </a:cubicBezTo>
                <a:cubicBezTo>
                  <a:pt x="1540" y="177"/>
                  <a:pt x="1544" y="179"/>
                  <a:pt x="1549" y="179"/>
                </a:cubicBezTo>
                <a:moveTo>
                  <a:pt x="1502" y="115"/>
                </a:moveTo>
                <a:cubicBezTo>
                  <a:pt x="1531" y="115"/>
                  <a:pt x="1531" y="115"/>
                  <a:pt x="1531" y="115"/>
                </a:cubicBezTo>
                <a:cubicBezTo>
                  <a:pt x="1531" y="125"/>
                  <a:pt x="1531" y="125"/>
                  <a:pt x="1531" y="125"/>
                </a:cubicBezTo>
                <a:cubicBezTo>
                  <a:pt x="1534" y="121"/>
                  <a:pt x="1538" y="118"/>
                  <a:pt x="1542" y="116"/>
                </a:cubicBezTo>
                <a:cubicBezTo>
                  <a:pt x="1547" y="114"/>
                  <a:pt x="1552" y="113"/>
                  <a:pt x="1558" y="113"/>
                </a:cubicBezTo>
                <a:cubicBezTo>
                  <a:pt x="1563" y="113"/>
                  <a:pt x="1569" y="114"/>
                  <a:pt x="1574" y="116"/>
                </a:cubicBezTo>
                <a:cubicBezTo>
                  <a:pt x="1579" y="118"/>
                  <a:pt x="1583" y="122"/>
                  <a:pt x="1587" y="126"/>
                </a:cubicBezTo>
                <a:cubicBezTo>
                  <a:pt x="1590" y="130"/>
                  <a:pt x="1593" y="135"/>
                  <a:pt x="1595" y="140"/>
                </a:cubicBezTo>
                <a:cubicBezTo>
                  <a:pt x="1597" y="146"/>
                  <a:pt x="1598" y="152"/>
                  <a:pt x="1598" y="159"/>
                </a:cubicBezTo>
                <a:cubicBezTo>
                  <a:pt x="1598" y="166"/>
                  <a:pt x="1597" y="172"/>
                  <a:pt x="1595" y="178"/>
                </a:cubicBezTo>
                <a:cubicBezTo>
                  <a:pt x="1593" y="184"/>
                  <a:pt x="1590" y="189"/>
                  <a:pt x="1586" y="193"/>
                </a:cubicBezTo>
                <a:cubicBezTo>
                  <a:pt x="1582" y="197"/>
                  <a:pt x="1578" y="201"/>
                  <a:pt x="1573" y="203"/>
                </a:cubicBezTo>
                <a:cubicBezTo>
                  <a:pt x="1568" y="205"/>
                  <a:pt x="1563" y="207"/>
                  <a:pt x="1557" y="207"/>
                </a:cubicBezTo>
                <a:cubicBezTo>
                  <a:pt x="1552" y="207"/>
                  <a:pt x="1547" y="206"/>
                  <a:pt x="1543" y="204"/>
                </a:cubicBezTo>
                <a:cubicBezTo>
                  <a:pt x="1539" y="202"/>
                  <a:pt x="1536" y="199"/>
                  <a:pt x="1533" y="196"/>
                </a:cubicBezTo>
                <a:cubicBezTo>
                  <a:pt x="1533" y="243"/>
                  <a:pt x="1533" y="243"/>
                  <a:pt x="1533" y="243"/>
                </a:cubicBezTo>
                <a:cubicBezTo>
                  <a:pt x="1502" y="243"/>
                  <a:pt x="1502" y="243"/>
                  <a:pt x="1502" y="243"/>
                </a:cubicBezTo>
                <a:lnTo>
                  <a:pt x="1502" y="115"/>
                </a:lnTo>
                <a:close/>
                <a:moveTo>
                  <a:pt x="1455" y="135"/>
                </a:moveTo>
                <a:cubicBezTo>
                  <a:pt x="1449" y="135"/>
                  <a:pt x="1445" y="137"/>
                  <a:pt x="1445" y="140"/>
                </a:cubicBezTo>
                <a:cubicBezTo>
                  <a:pt x="1445" y="142"/>
                  <a:pt x="1446" y="144"/>
                  <a:pt x="1448" y="145"/>
                </a:cubicBezTo>
                <a:cubicBezTo>
                  <a:pt x="1450" y="146"/>
                  <a:pt x="1454" y="147"/>
                  <a:pt x="1459" y="148"/>
                </a:cubicBezTo>
                <a:cubicBezTo>
                  <a:pt x="1469" y="151"/>
                  <a:pt x="1477" y="154"/>
                  <a:pt x="1482" y="159"/>
                </a:cubicBezTo>
                <a:cubicBezTo>
                  <a:pt x="1487" y="164"/>
                  <a:pt x="1489" y="170"/>
                  <a:pt x="1489" y="179"/>
                </a:cubicBezTo>
                <a:cubicBezTo>
                  <a:pt x="1489" y="187"/>
                  <a:pt x="1486" y="194"/>
                  <a:pt x="1479" y="199"/>
                </a:cubicBezTo>
                <a:cubicBezTo>
                  <a:pt x="1472" y="204"/>
                  <a:pt x="1462" y="207"/>
                  <a:pt x="1449" y="207"/>
                </a:cubicBezTo>
                <a:cubicBezTo>
                  <a:pt x="1442" y="207"/>
                  <a:pt x="1436" y="206"/>
                  <a:pt x="1429" y="204"/>
                </a:cubicBezTo>
                <a:cubicBezTo>
                  <a:pt x="1423" y="203"/>
                  <a:pt x="1418" y="201"/>
                  <a:pt x="1414" y="198"/>
                </a:cubicBezTo>
                <a:cubicBezTo>
                  <a:pt x="1424" y="180"/>
                  <a:pt x="1424" y="180"/>
                  <a:pt x="1424" y="180"/>
                </a:cubicBezTo>
                <a:cubicBezTo>
                  <a:pt x="1427" y="181"/>
                  <a:pt x="1431" y="182"/>
                  <a:pt x="1436" y="183"/>
                </a:cubicBezTo>
                <a:cubicBezTo>
                  <a:pt x="1440" y="184"/>
                  <a:pt x="1444" y="184"/>
                  <a:pt x="1447" y="184"/>
                </a:cubicBezTo>
                <a:cubicBezTo>
                  <a:pt x="1455" y="184"/>
                  <a:pt x="1458" y="182"/>
                  <a:pt x="1458" y="179"/>
                </a:cubicBezTo>
                <a:cubicBezTo>
                  <a:pt x="1458" y="178"/>
                  <a:pt x="1458" y="177"/>
                  <a:pt x="1458" y="176"/>
                </a:cubicBezTo>
                <a:cubicBezTo>
                  <a:pt x="1458" y="176"/>
                  <a:pt x="1457" y="175"/>
                  <a:pt x="1456" y="175"/>
                </a:cubicBezTo>
                <a:cubicBezTo>
                  <a:pt x="1455" y="174"/>
                  <a:pt x="1454" y="173"/>
                  <a:pt x="1452" y="173"/>
                </a:cubicBezTo>
                <a:cubicBezTo>
                  <a:pt x="1450" y="172"/>
                  <a:pt x="1448" y="172"/>
                  <a:pt x="1445" y="171"/>
                </a:cubicBezTo>
                <a:cubicBezTo>
                  <a:pt x="1440" y="170"/>
                  <a:pt x="1435" y="168"/>
                  <a:pt x="1432" y="166"/>
                </a:cubicBezTo>
                <a:cubicBezTo>
                  <a:pt x="1428" y="164"/>
                  <a:pt x="1425" y="162"/>
                  <a:pt x="1422" y="160"/>
                </a:cubicBezTo>
                <a:cubicBezTo>
                  <a:pt x="1420" y="157"/>
                  <a:pt x="1418" y="155"/>
                  <a:pt x="1417" y="152"/>
                </a:cubicBezTo>
                <a:cubicBezTo>
                  <a:pt x="1416" y="148"/>
                  <a:pt x="1415" y="145"/>
                  <a:pt x="1415" y="141"/>
                </a:cubicBezTo>
                <a:cubicBezTo>
                  <a:pt x="1415" y="132"/>
                  <a:pt x="1418" y="125"/>
                  <a:pt x="1425" y="120"/>
                </a:cubicBezTo>
                <a:cubicBezTo>
                  <a:pt x="1432" y="115"/>
                  <a:pt x="1441" y="113"/>
                  <a:pt x="1453" y="113"/>
                </a:cubicBezTo>
                <a:cubicBezTo>
                  <a:pt x="1459" y="113"/>
                  <a:pt x="1465" y="113"/>
                  <a:pt x="1471" y="115"/>
                </a:cubicBezTo>
                <a:cubicBezTo>
                  <a:pt x="1476" y="116"/>
                  <a:pt x="1481" y="117"/>
                  <a:pt x="1485" y="120"/>
                </a:cubicBezTo>
                <a:cubicBezTo>
                  <a:pt x="1482" y="142"/>
                  <a:pt x="1482" y="142"/>
                  <a:pt x="1482" y="142"/>
                </a:cubicBezTo>
                <a:cubicBezTo>
                  <a:pt x="1478" y="140"/>
                  <a:pt x="1473" y="138"/>
                  <a:pt x="1468" y="137"/>
                </a:cubicBezTo>
                <a:cubicBezTo>
                  <a:pt x="1464" y="136"/>
                  <a:pt x="1459" y="135"/>
                  <a:pt x="1455" y="135"/>
                </a:cubicBezTo>
                <a:moveTo>
                  <a:pt x="1356" y="181"/>
                </a:moveTo>
                <a:cubicBezTo>
                  <a:pt x="1362" y="181"/>
                  <a:pt x="1366" y="179"/>
                  <a:pt x="1370" y="175"/>
                </a:cubicBezTo>
                <a:cubicBezTo>
                  <a:pt x="1373" y="171"/>
                  <a:pt x="1375" y="166"/>
                  <a:pt x="1375" y="160"/>
                </a:cubicBezTo>
                <a:cubicBezTo>
                  <a:pt x="1375" y="153"/>
                  <a:pt x="1373" y="148"/>
                  <a:pt x="1370" y="144"/>
                </a:cubicBezTo>
                <a:cubicBezTo>
                  <a:pt x="1366" y="140"/>
                  <a:pt x="1362" y="139"/>
                  <a:pt x="1356" y="139"/>
                </a:cubicBezTo>
                <a:cubicBezTo>
                  <a:pt x="1350" y="139"/>
                  <a:pt x="1345" y="140"/>
                  <a:pt x="1342" y="144"/>
                </a:cubicBezTo>
                <a:cubicBezTo>
                  <a:pt x="1338" y="148"/>
                  <a:pt x="1337" y="153"/>
                  <a:pt x="1337" y="160"/>
                </a:cubicBezTo>
                <a:cubicBezTo>
                  <a:pt x="1337" y="166"/>
                  <a:pt x="1338" y="171"/>
                  <a:pt x="1342" y="175"/>
                </a:cubicBezTo>
                <a:cubicBezTo>
                  <a:pt x="1345" y="179"/>
                  <a:pt x="1350" y="181"/>
                  <a:pt x="1356" y="181"/>
                </a:cubicBezTo>
                <a:moveTo>
                  <a:pt x="1356" y="207"/>
                </a:moveTo>
                <a:cubicBezTo>
                  <a:pt x="1349" y="207"/>
                  <a:pt x="1342" y="205"/>
                  <a:pt x="1336" y="203"/>
                </a:cubicBezTo>
                <a:cubicBezTo>
                  <a:pt x="1330" y="201"/>
                  <a:pt x="1325" y="198"/>
                  <a:pt x="1321" y="193"/>
                </a:cubicBezTo>
                <a:cubicBezTo>
                  <a:pt x="1317" y="189"/>
                  <a:pt x="1313" y="184"/>
                  <a:pt x="1311" y="178"/>
                </a:cubicBezTo>
                <a:cubicBezTo>
                  <a:pt x="1308" y="173"/>
                  <a:pt x="1307" y="166"/>
                  <a:pt x="1307" y="160"/>
                </a:cubicBezTo>
                <a:cubicBezTo>
                  <a:pt x="1307" y="153"/>
                  <a:pt x="1308" y="147"/>
                  <a:pt x="1311" y="141"/>
                </a:cubicBezTo>
                <a:cubicBezTo>
                  <a:pt x="1313" y="135"/>
                  <a:pt x="1317" y="130"/>
                  <a:pt x="1321" y="126"/>
                </a:cubicBezTo>
                <a:cubicBezTo>
                  <a:pt x="1325" y="122"/>
                  <a:pt x="1331" y="118"/>
                  <a:pt x="1337" y="116"/>
                </a:cubicBezTo>
                <a:cubicBezTo>
                  <a:pt x="1342" y="114"/>
                  <a:pt x="1349" y="113"/>
                  <a:pt x="1356" y="113"/>
                </a:cubicBezTo>
                <a:cubicBezTo>
                  <a:pt x="1363" y="113"/>
                  <a:pt x="1369" y="114"/>
                  <a:pt x="1375" y="116"/>
                </a:cubicBezTo>
                <a:cubicBezTo>
                  <a:pt x="1381" y="118"/>
                  <a:pt x="1386" y="122"/>
                  <a:pt x="1391" y="126"/>
                </a:cubicBezTo>
                <a:cubicBezTo>
                  <a:pt x="1395" y="130"/>
                  <a:pt x="1398" y="135"/>
                  <a:pt x="1401" y="141"/>
                </a:cubicBezTo>
                <a:cubicBezTo>
                  <a:pt x="1403" y="147"/>
                  <a:pt x="1404" y="153"/>
                  <a:pt x="1404" y="160"/>
                </a:cubicBezTo>
                <a:cubicBezTo>
                  <a:pt x="1404" y="166"/>
                  <a:pt x="1403" y="173"/>
                  <a:pt x="1401" y="178"/>
                </a:cubicBezTo>
                <a:cubicBezTo>
                  <a:pt x="1398" y="184"/>
                  <a:pt x="1395" y="189"/>
                  <a:pt x="1391" y="193"/>
                </a:cubicBezTo>
                <a:cubicBezTo>
                  <a:pt x="1386" y="197"/>
                  <a:pt x="1381" y="201"/>
                  <a:pt x="1375" y="203"/>
                </a:cubicBezTo>
                <a:cubicBezTo>
                  <a:pt x="1369" y="205"/>
                  <a:pt x="1363" y="207"/>
                  <a:pt x="1356" y="207"/>
                </a:cubicBezTo>
                <a:moveTo>
                  <a:pt x="1239" y="115"/>
                </a:moveTo>
                <a:cubicBezTo>
                  <a:pt x="1269" y="115"/>
                  <a:pt x="1269" y="115"/>
                  <a:pt x="1269" y="115"/>
                </a:cubicBezTo>
                <a:cubicBezTo>
                  <a:pt x="1269" y="129"/>
                  <a:pt x="1269" y="129"/>
                  <a:pt x="1269" y="129"/>
                </a:cubicBezTo>
                <a:cubicBezTo>
                  <a:pt x="1271" y="124"/>
                  <a:pt x="1274" y="120"/>
                  <a:pt x="1278" y="118"/>
                </a:cubicBezTo>
                <a:cubicBezTo>
                  <a:pt x="1282" y="115"/>
                  <a:pt x="1286" y="114"/>
                  <a:pt x="1291" y="114"/>
                </a:cubicBezTo>
                <a:cubicBezTo>
                  <a:pt x="1295" y="114"/>
                  <a:pt x="1299" y="114"/>
                  <a:pt x="1301" y="116"/>
                </a:cubicBezTo>
                <a:cubicBezTo>
                  <a:pt x="1299" y="145"/>
                  <a:pt x="1299" y="145"/>
                  <a:pt x="1299" y="145"/>
                </a:cubicBezTo>
                <a:cubicBezTo>
                  <a:pt x="1297" y="144"/>
                  <a:pt x="1296" y="143"/>
                  <a:pt x="1293" y="143"/>
                </a:cubicBezTo>
                <a:cubicBezTo>
                  <a:pt x="1291" y="143"/>
                  <a:pt x="1289" y="142"/>
                  <a:pt x="1288" y="142"/>
                </a:cubicBezTo>
                <a:cubicBezTo>
                  <a:pt x="1276" y="142"/>
                  <a:pt x="1270" y="150"/>
                  <a:pt x="1270" y="166"/>
                </a:cubicBezTo>
                <a:cubicBezTo>
                  <a:pt x="1270" y="204"/>
                  <a:pt x="1270" y="204"/>
                  <a:pt x="1270" y="204"/>
                </a:cubicBezTo>
                <a:cubicBezTo>
                  <a:pt x="1239" y="204"/>
                  <a:pt x="1239" y="204"/>
                  <a:pt x="1239" y="204"/>
                </a:cubicBezTo>
                <a:lnTo>
                  <a:pt x="1239" y="115"/>
                </a:lnTo>
                <a:close/>
                <a:moveTo>
                  <a:pt x="1195" y="150"/>
                </a:moveTo>
                <a:cubicBezTo>
                  <a:pt x="1195" y="145"/>
                  <a:pt x="1193" y="142"/>
                  <a:pt x="1191" y="139"/>
                </a:cubicBezTo>
                <a:cubicBezTo>
                  <a:pt x="1188" y="136"/>
                  <a:pt x="1184" y="135"/>
                  <a:pt x="1180" y="135"/>
                </a:cubicBezTo>
                <a:cubicBezTo>
                  <a:pt x="1172" y="135"/>
                  <a:pt x="1166" y="140"/>
                  <a:pt x="1164" y="150"/>
                </a:cubicBezTo>
                <a:lnTo>
                  <a:pt x="1195" y="150"/>
                </a:lnTo>
                <a:close/>
                <a:moveTo>
                  <a:pt x="1224" y="197"/>
                </a:moveTo>
                <a:cubicBezTo>
                  <a:pt x="1219" y="200"/>
                  <a:pt x="1214" y="203"/>
                  <a:pt x="1208" y="204"/>
                </a:cubicBezTo>
                <a:cubicBezTo>
                  <a:pt x="1201" y="206"/>
                  <a:pt x="1195" y="207"/>
                  <a:pt x="1188" y="207"/>
                </a:cubicBezTo>
                <a:cubicBezTo>
                  <a:pt x="1180" y="207"/>
                  <a:pt x="1172" y="206"/>
                  <a:pt x="1166" y="203"/>
                </a:cubicBezTo>
                <a:cubicBezTo>
                  <a:pt x="1159" y="201"/>
                  <a:pt x="1153" y="198"/>
                  <a:pt x="1149" y="194"/>
                </a:cubicBezTo>
                <a:cubicBezTo>
                  <a:pt x="1144" y="190"/>
                  <a:pt x="1141" y="185"/>
                  <a:pt x="1138" y="179"/>
                </a:cubicBezTo>
                <a:cubicBezTo>
                  <a:pt x="1136" y="173"/>
                  <a:pt x="1134" y="167"/>
                  <a:pt x="1134" y="160"/>
                </a:cubicBezTo>
                <a:cubicBezTo>
                  <a:pt x="1134" y="153"/>
                  <a:pt x="1136" y="146"/>
                  <a:pt x="1138" y="141"/>
                </a:cubicBezTo>
                <a:cubicBezTo>
                  <a:pt x="1140" y="135"/>
                  <a:pt x="1143" y="130"/>
                  <a:pt x="1147" y="126"/>
                </a:cubicBezTo>
                <a:cubicBezTo>
                  <a:pt x="1151" y="122"/>
                  <a:pt x="1156" y="118"/>
                  <a:pt x="1162" y="116"/>
                </a:cubicBezTo>
                <a:cubicBezTo>
                  <a:pt x="1168" y="114"/>
                  <a:pt x="1174" y="113"/>
                  <a:pt x="1181" y="113"/>
                </a:cubicBezTo>
                <a:cubicBezTo>
                  <a:pt x="1187" y="113"/>
                  <a:pt x="1193" y="114"/>
                  <a:pt x="1199" y="116"/>
                </a:cubicBezTo>
                <a:cubicBezTo>
                  <a:pt x="1204" y="118"/>
                  <a:pt x="1209" y="121"/>
                  <a:pt x="1212" y="125"/>
                </a:cubicBezTo>
                <a:cubicBezTo>
                  <a:pt x="1216" y="128"/>
                  <a:pt x="1219" y="133"/>
                  <a:pt x="1221" y="138"/>
                </a:cubicBezTo>
                <a:cubicBezTo>
                  <a:pt x="1223" y="144"/>
                  <a:pt x="1224" y="150"/>
                  <a:pt x="1224" y="157"/>
                </a:cubicBezTo>
                <a:cubicBezTo>
                  <a:pt x="1224" y="161"/>
                  <a:pt x="1224" y="165"/>
                  <a:pt x="1223" y="168"/>
                </a:cubicBezTo>
                <a:cubicBezTo>
                  <a:pt x="1165" y="168"/>
                  <a:pt x="1165" y="168"/>
                  <a:pt x="1165" y="168"/>
                </a:cubicBezTo>
                <a:cubicBezTo>
                  <a:pt x="1168" y="178"/>
                  <a:pt x="1176" y="183"/>
                  <a:pt x="1191" y="183"/>
                </a:cubicBezTo>
                <a:cubicBezTo>
                  <a:pt x="1194" y="183"/>
                  <a:pt x="1198" y="182"/>
                  <a:pt x="1203" y="181"/>
                </a:cubicBezTo>
                <a:cubicBezTo>
                  <a:pt x="1207" y="180"/>
                  <a:pt x="1211" y="179"/>
                  <a:pt x="1214" y="178"/>
                </a:cubicBezTo>
                <a:lnTo>
                  <a:pt x="1224" y="197"/>
                </a:lnTo>
                <a:close/>
                <a:moveTo>
                  <a:pt x="1077" y="148"/>
                </a:moveTo>
                <a:cubicBezTo>
                  <a:pt x="1062" y="103"/>
                  <a:pt x="1062" y="103"/>
                  <a:pt x="1062" y="103"/>
                </a:cubicBezTo>
                <a:cubicBezTo>
                  <a:pt x="1047" y="148"/>
                  <a:pt x="1047" y="148"/>
                  <a:pt x="1047" y="148"/>
                </a:cubicBezTo>
                <a:lnTo>
                  <a:pt x="1077" y="148"/>
                </a:lnTo>
                <a:close/>
                <a:moveTo>
                  <a:pt x="1046" y="73"/>
                </a:moveTo>
                <a:cubicBezTo>
                  <a:pt x="1081" y="73"/>
                  <a:pt x="1081" y="73"/>
                  <a:pt x="1081" y="73"/>
                </a:cubicBezTo>
                <a:cubicBezTo>
                  <a:pt x="1133" y="204"/>
                  <a:pt x="1133" y="204"/>
                  <a:pt x="1133" y="204"/>
                </a:cubicBezTo>
                <a:cubicBezTo>
                  <a:pt x="1096" y="204"/>
                  <a:pt x="1096" y="204"/>
                  <a:pt x="1096" y="204"/>
                </a:cubicBezTo>
                <a:cubicBezTo>
                  <a:pt x="1086" y="174"/>
                  <a:pt x="1086" y="174"/>
                  <a:pt x="1086" y="174"/>
                </a:cubicBezTo>
                <a:cubicBezTo>
                  <a:pt x="1039" y="174"/>
                  <a:pt x="1039" y="174"/>
                  <a:pt x="1039" y="174"/>
                </a:cubicBezTo>
                <a:cubicBezTo>
                  <a:pt x="1029" y="204"/>
                  <a:pt x="1029" y="204"/>
                  <a:pt x="1029" y="204"/>
                </a:cubicBezTo>
                <a:cubicBezTo>
                  <a:pt x="995" y="204"/>
                  <a:pt x="995" y="204"/>
                  <a:pt x="995" y="204"/>
                </a:cubicBezTo>
                <a:lnTo>
                  <a:pt x="1046" y="73"/>
                </a:lnTo>
                <a:close/>
                <a:moveTo>
                  <a:pt x="921" y="135"/>
                </a:moveTo>
                <a:cubicBezTo>
                  <a:pt x="914" y="135"/>
                  <a:pt x="911" y="137"/>
                  <a:pt x="911" y="140"/>
                </a:cubicBezTo>
                <a:cubicBezTo>
                  <a:pt x="911" y="142"/>
                  <a:pt x="912" y="144"/>
                  <a:pt x="914" y="145"/>
                </a:cubicBezTo>
                <a:cubicBezTo>
                  <a:pt x="916" y="146"/>
                  <a:pt x="919" y="147"/>
                  <a:pt x="924" y="148"/>
                </a:cubicBezTo>
                <a:cubicBezTo>
                  <a:pt x="935" y="151"/>
                  <a:pt x="943" y="154"/>
                  <a:pt x="948" y="159"/>
                </a:cubicBezTo>
                <a:cubicBezTo>
                  <a:pt x="952" y="164"/>
                  <a:pt x="955" y="170"/>
                  <a:pt x="955" y="179"/>
                </a:cubicBezTo>
                <a:cubicBezTo>
                  <a:pt x="955" y="187"/>
                  <a:pt x="951" y="194"/>
                  <a:pt x="944" y="199"/>
                </a:cubicBezTo>
                <a:cubicBezTo>
                  <a:pt x="937" y="204"/>
                  <a:pt x="928" y="207"/>
                  <a:pt x="915" y="207"/>
                </a:cubicBezTo>
                <a:cubicBezTo>
                  <a:pt x="908" y="207"/>
                  <a:pt x="901" y="206"/>
                  <a:pt x="895" y="204"/>
                </a:cubicBezTo>
                <a:cubicBezTo>
                  <a:pt x="888" y="203"/>
                  <a:pt x="883" y="201"/>
                  <a:pt x="880" y="198"/>
                </a:cubicBezTo>
                <a:cubicBezTo>
                  <a:pt x="890" y="180"/>
                  <a:pt x="890" y="180"/>
                  <a:pt x="890" y="180"/>
                </a:cubicBezTo>
                <a:cubicBezTo>
                  <a:pt x="893" y="181"/>
                  <a:pt x="897" y="182"/>
                  <a:pt x="901" y="183"/>
                </a:cubicBezTo>
                <a:cubicBezTo>
                  <a:pt x="905" y="184"/>
                  <a:pt x="909" y="184"/>
                  <a:pt x="913" y="184"/>
                </a:cubicBezTo>
                <a:cubicBezTo>
                  <a:pt x="920" y="184"/>
                  <a:pt x="924" y="182"/>
                  <a:pt x="924" y="179"/>
                </a:cubicBezTo>
                <a:cubicBezTo>
                  <a:pt x="924" y="178"/>
                  <a:pt x="924" y="177"/>
                  <a:pt x="924" y="176"/>
                </a:cubicBezTo>
                <a:cubicBezTo>
                  <a:pt x="923" y="176"/>
                  <a:pt x="923" y="175"/>
                  <a:pt x="922" y="175"/>
                </a:cubicBezTo>
                <a:cubicBezTo>
                  <a:pt x="921" y="174"/>
                  <a:pt x="919" y="173"/>
                  <a:pt x="918" y="173"/>
                </a:cubicBezTo>
                <a:cubicBezTo>
                  <a:pt x="916" y="172"/>
                  <a:pt x="914" y="172"/>
                  <a:pt x="911" y="171"/>
                </a:cubicBezTo>
                <a:cubicBezTo>
                  <a:pt x="906" y="170"/>
                  <a:pt x="901" y="168"/>
                  <a:pt x="897" y="166"/>
                </a:cubicBezTo>
                <a:cubicBezTo>
                  <a:pt x="893" y="164"/>
                  <a:pt x="890" y="162"/>
                  <a:pt x="888" y="160"/>
                </a:cubicBezTo>
                <a:cubicBezTo>
                  <a:pt x="885" y="157"/>
                  <a:pt x="884" y="155"/>
                  <a:pt x="883" y="152"/>
                </a:cubicBezTo>
                <a:cubicBezTo>
                  <a:pt x="881" y="148"/>
                  <a:pt x="881" y="145"/>
                  <a:pt x="881" y="141"/>
                </a:cubicBezTo>
                <a:cubicBezTo>
                  <a:pt x="881" y="132"/>
                  <a:pt x="884" y="125"/>
                  <a:pt x="891" y="120"/>
                </a:cubicBezTo>
                <a:cubicBezTo>
                  <a:pt x="898" y="115"/>
                  <a:pt x="907" y="113"/>
                  <a:pt x="919" y="113"/>
                </a:cubicBezTo>
                <a:cubicBezTo>
                  <a:pt x="925" y="113"/>
                  <a:pt x="931" y="113"/>
                  <a:pt x="936" y="115"/>
                </a:cubicBezTo>
                <a:cubicBezTo>
                  <a:pt x="942" y="116"/>
                  <a:pt x="947" y="117"/>
                  <a:pt x="951" y="120"/>
                </a:cubicBezTo>
                <a:cubicBezTo>
                  <a:pt x="948" y="142"/>
                  <a:pt x="948" y="142"/>
                  <a:pt x="948" y="142"/>
                </a:cubicBezTo>
                <a:cubicBezTo>
                  <a:pt x="943" y="140"/>
                  <a:pt x="939" y="138"/>
                  <a:pt x="934" y="137"/>
                </a:cubicBezTo>
                <a:cubicBezTo>
                  <a:pt x="929" y="136"/>
                  <a:pt x="925" y="135"/>
                  <a:pt x="921" y="135"/>
                </a:cubicBezTo>
                <a:moveTo>
                  <a:pt x="780" y="115"/>
                </a:moveTo>
                <a:cubicBezTo>
                  <a:pt x="810" y="115"/>
                  <a:pt x="810" y="115"/>
                  <a:pt x="810" y="115"/>
                </a:cubicBezTo>
                <a:cubicBezTo>
                  <a:pt x="810" y="126"/>
                  <a:pt x="810" y="126"/>
                  <a:pt x="810" y="126"/>
                </a:cubicBezTo>
                <a:cubicBezTo>
                  <a:pt x="812" y="122"/>
                  <a:pt x="816" y="119"/>
                  <a:pt x="820" y="116"/>
                </a:cubicBezTo>
                <a:cubicBezTo>
                  <a:pt x="825" y="114"/>
                  <a:pt x="830" y="113"/>
                  <a:pt x="836" y="113"/>
                </a:cubicBezTo>
                <a:cubicBezTo>
                  <a:pt x="846" y="113"/>
                  <a:pt x="853" y="116"/>
                  <a:pt x="859" y="122"/>
                </a:cubicBezTo>
                <a:cubicBezTo>
                  <a:pt x="864" y="128"/>
                  <a:pt x="866" y="138"/>
                  <a:pt x="866" y="150"/>
                </a:cubicBezTo>
                <a:cubicBezTo>
                  <a:pt x="866" y="204"/>
                  <a:pt x="866" y="204"/>
                  <a:pt x="866" y="204"/>
                </a:cubicBezTo>
                <a:cubicBezTo>
                  <a:pt x="836" y="204"/>
                  <a:pt x="836" y="204"/>
                  <a:pt x="836" y="204"/>
                </a:cubicBezTo>
                <a:cubicBezTo>
                  <a:pt x="836" y="156"/>
                  <a:pt x="836" y="156"/>
                  <a:pt x="836" y="156"/>
                </a:cubicBezTo>
                <a:cubicBezTo>
                  <a:pt x="836" y="145"/>
                  <a:pt x="832" y="140"/>
                  <a:pt x="824" y="140"/>
                </a:cubicBezTo>
                <a:cubicBezTo>
                  <a:pt x="819" y="140"/>
                  <a:pt x="816" y="142"/>
                  <a:pt x="814" y="144"/>
                </a:cubicBezTo>
                <a:cubicBezTo>
                  <a:pt x="812" y="147"/>
                  <a:pt x="810" y="152"/>
                  <a:pt x="810" y="157"/>
                </a:cubicBezTo>
                <a:cubicBezTo>
                  <a:pt x="810" y="204"/>
                  <a:pt x="810" y="204"/>
                  <a:pt x="810" y="204"/>
                </a:cubicBezTo>
                <a:cubicBezTo>
                  <a:pt x="780" y="204"/>
                  <a:pt x="780" y="204"/>
                  <a:pt x="780" y="204"/>
                </a:cubicBezTo>
                <a:lnTo>
                  <a:pt x="780" y="115"/>
                </a:lnTo>
                <a:close/>
                <a:moveTo>
                  <a:pt x="729" y="115"/>
                </a:moveTo>
                <a:cubicBezTo>
                  <a:pt x="760" y="115"/>
                  <a:pt x="760" y="115"/>
                  <a:pt x="760" y="115"/>
                </a:cubicBezTo>
                <a:cubicBezTo>
                  <a:pt x="760" y="204"/>
                  <a:pt x="760" y="204"/>
                  <a:pt x="760" y="204"/>
                </a:cubicBezTo>
                <a:cubicBezTo>
                  <a:pt x="729" y="204"/>
                  <a:pt x="729" y="204"/>
                  <a:pt x="729" y="204"/>
                </a:cubicBezTo>
                <a:lnTo>
                  <a:pt x="729" y="115"/>
                </a:lnTo>
                <a:close/>
                <a:moveTo>
                  <a:pt x="744" y="101"/>
                </a:moveTo>
                <a:cubicBezTo>
                  <a:pt x="739" y="101"/>
                  <a:pt x="735" y="100"/>
                  <a:pt x="732" y="97"/>
                </a:cubicBezTo>
                <a:cubicBezTo>
                  <a:pt x="729" y="94"/>
                  <a:pt x="727" y="90"/>
                  <a:pt x="727" y="85"/>
                </a:cubicBezTo>
                <a:cubicBezTo>
                  <a:pt x="727" y="80"/>
                  <a:pt x="729" y="76"/>
                  <a:pt x="732" y="73"/>
                </a:cubicBezTo>
                <a:cubicBezTo>
                  <a:pt x="735" y="70"/>
                  <a:pt x="739" y="68"/>
                  <a:pt x="744" y="68"/>
                </a:cubicBezTo>
                <a:cubicBezTo>
                  <a:pt x="749" y="68"/>
                  <a:pt x="753" y="70"/>
                  <a:pt x="757" y="73"/>
                </a:cubicBezTo>
                <a:cubicBezTo>
                  <a:pt x="760" y="76"/>
                  <a:pt x="762" y="80"/>
                  <a:pt x="762" y="85"/>
                </a:cubicBezTo>
                <a:cubicBezTo>
                  <a:pt x="762" y="90"/>
                  <a:pt x="760" y="94"/>
                  <a:pt x="757" y="97"/>
                </a:cubicBezTo>
                <a:cubicBezTo>
                  <a:pt x="753" y="100"/>
                  <a:pt x="749" y="101"/>
                  <a:pt x="744" y="101"/>
                </a:cubicBezTo>
                <a:moveTo>
                  <a:pt x="676" y="73"/>
                </a:moveTo>
                <a:cubicBezTo>
                  <a:pt x="707" y="73"/>
                  <a:pt x="707" y="73"/>
                  <a:pt x="707" y="73"/>
                </a:cubicBezTo>
                <a:cubicBezTo>
                  <a:pt x="707" y="204"/>
                  <a:pt x="707" y="204"/>
                  <a:pt x="707" y="204"/>
                </a:cubicBezTo>
                <a:cubicBezTo>
                  <a:pt x="676" y="204"/>
                  <a:pt x="676" y="204"/>
                  <a:pt x="676" y="204"/>
                </a:cubicBezTo>
                <a:lnTo>
                  <a:pt x="676" y="73"/>
                </a:lnTo>
                <a:close/>
                <a:moveTo>
                  <a:pt x="625" y="73"/>
                </a:moveTo>
                <a:cubicBezTo>
                  <a:pt x="656" y="73"/>
                  <a:pt x="656" y="73"/>
                  <a:pt x="656" y="73"/>
                </a:cubicBezTo>
                <a:cubicBezTo>
                  <a:pt x="656" y="204"/>
                  <a:pt x="656" y="204"/>
                  <a:pt x="656" y="204"/>
                </a:cubicBezTo>
                <a:cubicBezTo>
                  <a:pt x="625" y="204"/>
                  <a:pt x="625" y="204"/>
                  <a:pt x="625" y="204"/>
                </a:cubicBezTo>
                <a:lnTo>
                  <a:pt x="625" y="73"/>
                </a:lnTo>
                <a:close/>
                <a:moveTo>
                  <a:pt x="564" y="181"/>
                </a:moveTo>
                <a:cubicBezTo>
                  <a:pt x="570" y="181"/>
                  <a:pt x="574" y="179"/>
                  <a:pt x="578" y="175"/>
                </a:cubicBezTo>
                <a:cubicBezTo>
                  <a:pt x="581" y="171"/>
                  <a:pt x="583" y="166"/>
                  <a:pt x="583" y="160"/>
                </a:cubicBezTo>
                <a:cubicBezTo>
                  <a:pt x="583" y="153"/>
                  <a:pt x="581" y="148"/>
                  <a:pt x="578" y="144"/>
                </a:cubicBezTo>
                <a:cubicBezTo>
                  <a:pt x="574" y="140"/>
                  <a:pt x="570" y="139"/>
                  <a:pt x="564" y="139"/>
                </a:cubicBezTo>
                <a:cubicBezTo>
                  <a:pt x="558" y="139"/>
                  <a:pt x="553" y="140"/>
                  <a:pt x="550" y="144"/>
                </a:cubicBezTo>
                <a:cubicBezTo>
                  <a:pt x="546" y="148"/>
                  <a:pt x="544" y="153"/>
                  <a:pt x="544" y="160"/>
                </a:cubicBezTo>
                <a:cubicBezTo>
                  <a:pt x="544" y="166"/>
                  <a:pt x="546" y="171"/>
                  <a:pt x="550" y="175"/>
                </a:cubicBezTo>
                <a:cubicBezTo>
                  <a:pt x="553" y="179"/>
                  <a:pt x="558" y="181"/>
                  <a:pt x="564" y="181"/>
                </a:cubicBezTo>
                <a:moveTo>
                  <a:pt x="564" y="207"/>
                </a:moveTo>
                <a:cubicBezTo>
                  <a:pt x="557" y="207"/>
                  <a:pt x="550" y="205"/>
                  <a:pt x="544" y="203"/>
                </a:cubicBezTo>
                <a:cubicBezTo>
                  <a:pt x="538" y="200"/>
                  <a:pt x="533" y="197"/>
                  <a:pt x="529" y="192"/>
                </a:cubicBezTo>
                <a:cubicBezTo>
                  <a:pt x="524" y="188"/>
                  <a:pt x="521" y="183"/>
                  <a:pt x="518" y="177"/>
                </a:cubicBezTo>
                <a:cubicBezTo>
                  <a:pt x="516" y="171"/>
                  <a:pt x="515" y="164"/>
                  <a:pt x="515" y="158"/>
                </a:cubicBezTo>
                <a:cubicBezTo>
                  <a:pt x="515" y="151"/>
                  <a:pt x="516" y="145"/>
                  <a:pt x="518" y="139"/>
                </a:cubicBezTo>
                <a:cubicBezTo>
                  <a:pt x="521" y="134"/>
                  <a:pt x="524" y="129"/>
                  <a:pt x="529" y="125"/>
                </a:cubicBezTo>
                <a:cubicBezTo>
                  <a:pt x="533" y="121"/>
                  <a:pt x="538" y="118"/>
                  <a:pt x="544" y="116"/>
                </a:cubicBezTo>
                <a:cubicBezTo>
                  <a:pt x="550" y="114"/>
                  <a:pt x="557" y="113"/>
                  <a:pt x="564" y="113"/>
                </a:cubicBezTo>
                <a:cubicBezTo>
                  <a:pt x="571" y="113"/>
                  <a:pt x="577" y="114"/>
                  <a:pt x="583" y="116"/>
                </a:cubicBezTo>
                <a:cubicBezTo>
                  <a:pt x="589" y="118"/>
                  <a:pt x="594" y="122"/>
                  <a:pt x="599" y="126"/>
                </a:cubicBezTo>
                <a:cubicBezTo>
                  <a:pt x="603" y="130"/>
                  <a:pt x="606" y="135"/>
                  <a:pt x="609" y="141"/>
                </a:cubicBezTo>
                <a:cubicBezTo>
                  <a:pt x="611" y="147"/>
                  <a:pt x="612" y="153"/>
                  <a:pt x="612" y="160"/>
                </a:cubicBezTo>
                <a:cubicBezTo>
                  <a:pt x="612" y="166"/>
                  <a:pt x="611" y="173"/>
                  <a:pt x="609" y="178"/>
                </a:cubicBezTo>
                <a:cubicBezTo>
                  <a:pt x="606" y="184"/>
                  <a:pt x="603" y="189"/>
                  <a:pt x="599" y="193"/>
                </a:cubicBezTo>
                <a:cubicBezTo>
                  <a:pt x="594" y="197"/>
                  <a:pt x="589" y="201"/>
                  <a:pt x="583" y="203"/>
                </a:cubicBezTo>
                <a:cubicBezTo>
                  <a:pt x="577" y="205"/>
                  <a:pt x="571" y="207"/>
                  <a:pt x="564" y="207"/>
                </a:cubicBezTo>
                <a:moveTo>
                  <a:pt x="507" y="192"/>
                </a:moveTo>
                <a:cubicBezTo>
                  <a:pt x="501" y="196"/>
                  <a:pt x="494" y="200"/>
                  <a:pt x="486" y="202"/>
                </a:cubicBezTo>
                <a:cubicBezTo>
                  <a:pt x="478" y="205"/>
                  <a:pt x="469" y="206"/>
                  <a:pt x="460" y="206"/>
                </a:cubicBezTo>
                <a:cubicBezTo>
                  <a:pt x="450" y="206"/>
                  <a:pt x="440" y="204"/>
                  <a:pt x="432" y="201"/>
                </a:cubicBezTo>
                <a:cubicBezTo>
                  <a:pt x="424" y="198"/>
                  <a:pt x="417" y="194"/>
                  <a:pt x="411" y="188"/>
                </a:cubicBezTo>
                <a:cubicBezTo>
                  <a:pt x="405" y="183"/>
                  <a:pt x="401" y="176"/>
                  <a:pt x="398" y="167"/>
                </a:cubicBezTo>
                <a:cubicBezTo>
                  <a:pt x="394" y="159"/>
                  <a:pt x="393" y="150"/>
                  <a:pt x="393" y="139"/>
                </a:cubicBezTo>
                <a:cubicBezTo>
                  <a:pt x="393" y="129"/>
                  <a:pt x="395" y="120"/>
                  <a:pt x="398" y="112"/>
                </a:cubicBezTo>
                <a:cubicBezTo>
                  <a:pt x="402" y="104"/>
                  <a:pt x="406" y="96"/>
                  <a:pt x="413" y="90"/>
                </a:cubicBezTo>
                <a:cubicBezTo>
                  <a:pt x="419" y="85"/>
                  <a:pt x="427" y="80"/>
                  <a:pt x="435" y="77"/>
                </a:cubicBezTo>
                <a:cubicBezTo>
                  <a:pt x="444" y="73"/>
                  <a:pt x="454" y="72"/>
                  <a:pt x="464" y="72"/>
                </a:cubicBezTo>
                <a:cubicBezTo>
                  <a:pt x="468" y="72"/>
                  <a:pt x="472" y="72"/>
                  <a:pt x="476" y="72"/>
                </a:cubicBezTo>
                <a:cubicBezTo>
                  <a:pt x="480" y="73"/>
                  <a:pt x="484" y="74"/>
                  <a:pt x="487" y="75"/>
                </a:cubicBezTo>
                <a:cubicBezTo>
                  <a:pt x="491" y="76"/>
                  <a:pt x="495" y="77"/>
                  <a:pt x="498" y="78"/>
                </a:cubicBezTo>
                <a:cubicBezTo>
                  <a:pt x="501" y="79"/>
                  <a:pt x="504" y="81"/>
                  <a:pt x="507" y="82"/>
                </a:cubicBezTo>
                <a:cubicBezTo>
                  <a:pt x="493" y="109"/>
                  <a:pt x="493" y="109"/>
                  <a:pt x="493" y="109"/>
                </a:cubicBezTo>
                <a:cubicBezTo>
                  <a:pt x="490" y="108"/>
                  <a:pt x="488" y="107"/>
                  <a:pt x="486" y="106"/>
                </a:cubicBezTo>
                <a:cubicBezTo>
                  <a:pt x="484" y="105"/>
                  <a:pt x="482" y="104"/>
                  <a:pt x="480" y="104"/>
                </a:cubicBezTo>
                <a:cubicBezTo>
                  <a:pt x="478" y="103"/>
                  <a:pt x="476" y="103"/>
                  <a:pt x="474" y="102"/>
                </a:cubicBezTo>
                <a:cubicBezTo>
                  <a:pt x="472" y="102"/>
                  <a:pt x="469" y="102"/>
                  <a:pt x="466" y="102"/>
                </a:cubicBezTo>
                <a:cubicBezTo>
                  <a:pt x="455" y="102"/>
                  <a:pt x="445" y="105"/>
                  <a:pt x="439" y="112"/>
                </a:cubicBezTo>
                <a:cubicBezTo>
                  <a:pt x="432" y="118"/>
                  <a:pt x="428" y="127"/>
                  <a:pt x="428" y="139"/>
                </a:cubicBezTo>
                <a:cubicBezTo>
                  <a:pt x="428" y="144"/>
                  <a:pt x="429" y="149"/>
                  <a:pt x="431" y="154"/>
                </a:cubicBezTo>
                <a:cubicBezTo>
                  <a:pt x="433" y="158"/>
                  <a:pt x="435" y="162"/>
                  <a:pt x="438" y="165"/>
                </a:cubicBezTo>
                <a:cubicBezTo>
                  <a:pt x="441" y="168"/>
                  <a:pt x="445" y="171"/>
                  <a:pt x="449" y="173"/>
                </a:cubicBezTo>
                <a:cubicBezTo>
                  <a:pt x="454" y="175"/>
                  <a:pt x="459" y="175"/>
                  <a:pt x="464" y="175"/>
                </a:cubicBezTo>
                <a:cubicBezTo>
                  <a:pt x="469" y="175"/>
                  <a:pt x="474" y="175"/>
                  <a:pt x="479" y="173"/>
                </a:cubicBezTo>
                <a:cubicBezTo>
                  <a:pt x="484" y="171"/>
                  <a:pt x="489" y="168"/>
                  <a:pt x="493" y="165"/>
                </a:cubicBezTo>
                <a:lnTo>
                  <a:pt x="507" y="192"/>
                </a:lnTo>
                <a:close/>
                <a:moveTo>
                  <a:pt x="126" y="2"/>
                </a:moveTo>
                <a:cubicBezTo>
                  <a:pt x="130" y="1"/>
                  <a:pt x="133" y="1"/>
                  <a:pt x="137" y="0"/>
                </a:cubicBezTo>
                <a:cubicBezTo>
                  <a:pt x="154" y="95"/>
                  <a:pt x="154" y="95"/>
                  <a:pt x="154" y="95"/>
                </a:cubicBezTo>
                <a:cubicBezTo>
                  <a:pt x="150" y="96"/>
                  <a:pt x="146" y="96"/>
                  <a:pt x="143" y="97"/>
                </a:cubicBezTo>
                <a:lnTo>
                  <a:pt x="126" y="2"/>
                </a:lnTo>
                <a:close/>
                <a:moveTo>
                  <a:pt x="122" y="107"/>
                </a:moveTo>
                <a:cubicBezTo>
                  <a:pt x="126" y="105"/>
                  <a:pt x="129" y="102"/>
                  <a:pt x="133" y="101"/>
                </a:cubicBezTo>
                <a:cubicBezTo>
                  <a:pt x="85" y="17"/>
                  <a:pt x="85" y="17"/>
                  <a:pt x="85" y="17"/>
                </a:cubicBezTo>
                <a:cubicBezTo>
                  <a:pt x="82" y="19"/>
                  <a:pt x="78" y="21"/>
                  <a:pt x="74" y="24"/>
                </a:cubicBezTo>
                <a:lnTo>
                  <a:pt x="122" y="107"/>
                </a:lnTo>
                <a:close/>
                <a:moveTo>
                  <a:pt x="95" y="160"/>
                </a:moveTo>
                <a:cubicBezTo>
                  <a:pt x="95" y="156"/>
                  <a:pt x="95" y="153"/>
                  <a:pt x="96" y="149"/>
                </a:cubicBezTo>
                <a:cubicBezTo>
                  <a:pt x="0" y="149"/>
                  <a:pt x="0" y="149"/>
                  <a:pt x="0" y="149"/>
                </a:cubicBezTo>
                <a:cubicBezTo>
                  <a:pt x="0" y="152"/>
                  <a:pt x="0" y="156"/>
                  <a:pt x="0" y="159"/>
                </a:cubicBezTo>
                <a:cubicBezTo>
                  <a:pt x="0" y="162"/>
                  <a:pt x="0" y="165"/>
                  <a:pt x="0" y="169"/>
                </a:cubicBezTo>
                <a:cubicBezTo>
                  <a:pt x="95" y="169"/>
                  <a:pt x="95" y="169"/>
                  <a:pt x="95" y="169"/>
                </a:cubicBezTo>
                <a:cubicBezTo>
                  <a:pt x="95" y="166"/>
                  <a:pt x="95" y="163"/>
                  <a:pt x="95" y="160"/>
                </a:cubicBezTo>
                <a:moveTo>
                  <a:pt x="224" y="160"/>
                </a:moveTo>
                <a:cubicBezTo>
                  <a:pt x="224" y="195"/>
                  <a:pt x="195" y="224"/>
                  <a:pt x="159" y="224"/>
                </a:cubicBezTo>
                <a:cubicBezTo>
                  <a:pt x="128" y="224"/>
                  <a:pt x="101" y="201"/>
                  <a:pt x="96" y="171"/>
                </a:cubicBezTo>
                <a:cubicBezTo>
                  <a:pt x="6" y="203"/>
                  <a:pt x="6" y="203"/>
                  <a:pt x="6" y="203"/>
                </a:cubicBezTo>
                <a:cubicBezTo>
                  <a:pt x="8" y="210"/>
                  <a:pt x="11" y="217"/>
                  <a:pt x="14" y="224"/>
                </a:cubicBezTo>
                <a:cubicBezTo>
                  <a:pt x="103" y="191"/>
                  <a:pt x="103" y="191"/>
                  <a:pt x="103" y="191"/>
                </a:cubicBezTo>
                <a:cubicBezTo>
                  <a:pt x="30" y="253"/>
                  <a:pt x="30" y="253"/>
                  <a:pt x="30" y="253"/>
                </a:cubicBezTo>
                <a:cubicBezTo>
                  <a:pt x="34" y="259"/>
                  <a:pt x="40" y="265"/>
                  <a:pt x="45" y="271"/>
                </a:cubicBezTo>
                <a:cubicBezTo>
                  <a:pt x="113" y="213"/>
                  <a:pt x="113" y="213"/>
                  <a:pt x="113" y="213"/>
                </a:cubicBezTo>
                <a:cubicBezTo>
                  <a:pt x="69" y="291"/>
                  <a:pt x="69" y="291"/>
                  <a:pt x="69" y="291"/>
                </a:cubicBezTo>
                <a:cubicBezTo>
                  <a:pt x="76" y="296"/>
                  <a:pt x="83" y="300"/>
                  <a:pt x="91" y="304"/>
                </a:cubicBezTo>
                <a:cubicBezTo>
                  <a:pt x="133" y="231"/>
                  <a:pt x="133" y="231"/>
                  <a:pt x="133" y="231"/>
                </a:cubicBezTo>
                <a:cubicBezTo>
                  <a:pt x="118" y="314"/>
                  <a:pt x="118" y="314"/>
                  <a:pt x="118" y="314"/>
                </a:cubicBezTo>
                <a:cubicBezTo>
                  <a:pt x="127" y="317"/>
                  <a:pt x="136" y="318"/>
                  <a:pt x="146" y="319"/>
                </a:cubicBezTo>
                <a:cubicBezTo>
                  <a:pt x="159" y="241"/>
                  <a:pt x="159" y="241"/>
                  <a:pt x="159" y="241"/>
                </a:cubicBezTo>
                <a:cubicBezTo>
                  <a:pt x="173" y="319"/>
                  <a:pt x="173" y="319"/>
                  <a:pt x="173" y="319"/>
                </a:cubicBezTo>
                <a:cubicBezTo>
                  <a:pt x="183" y="318"/>
                  <a:pt x="192" y="317"/>
                  <a:pt x="202" y="314"/>
                </a:cubicBezTo>
                <a:cubicBezTo>
                  <a:pt x="189" y="242"/>
                  <a:pt x="189" y="242"/>
                  <a:pt x="189" y="242"/>
                </a:cubicBezTo>
                <a:cubicBezTo>
                  <a:pt x="225" y="305"/>
                  <a:pt x="225" y="305"/>
                  <a:pt x="225" y="305"/>
                </a:cubicBezTo>
                <a:cubicBezTo>
                  <a:pt x="235" y="301"/>
                  <a:pt x="245" y="295"/>
                  <a:pt x="253" y="289"/>
                </a:cubicBezTo>
                <a:cubicBezTo>
                  <a:pt x="220" y="231"/>
                  <a:pt x="220" y="231"/>
                  <a:pt x="220" y="231"/>
                </a:cubicBezTo>
                <a:cubicBezTo>
                  <a:pt x="271" y="274"/>
                  <a:pt x="271" y="274"/>
                  <a:pt x="271" y="274"/>
                </a:cubicBezTo>
                <a:cubicBezTo>
                  <a:pt x="279" y="266"/>
                  <a:pt x="286" y="257"/>
                  <a:pt x="293" y="247"/>
                </a:cubicBezTo>
                <a:cubicBezTo>
                  <a:pt x="247" y="209"/>
                  <a:pt x="247" y="209"/>
                  <a:pt x="247" y="209"/>
                </a:cubicBezTo>
                <a:cubicBezTo>
                  <a:pt x="303" y="229"/>
                  <a:pt x="303" y="229"/>
                  <a:pt x="303" y="229"/>
                </a:cubicBezTo>
                <a:cubicBezTo>
                  <a:pt x="308" y="219"/>
                  <a:pt x="312" y="207"/>
                  <a:pt x="315" y="195"/>
                </a:cubicBezTo>
                <a:cubicBezTo>
                  <a:pt x="266" y="177"/>
                  <a:pt x="266" y="177"/>
                  <a:pt x="266" y="177"/>
                </a:cubicBezTo>
                <a:cubicBezTo>
                  <a:pt x="318" y="177"/>
                  <a:pt x="318" y="177"/>
                  <a:pt x="318" y="177"/>
                </a:cubicBezTo>
                <a:cubicBezTo>
                  <a:pt x="319" y="171"/>
                  <a:pt x="319" y="165"/>
                  <a:pt x="319" y="159"/>
                </a:cubicBezTo>
                <a:cubicBezTo>
                  <a:pt x="319" y="152"/>
                  <a:pt x="318" y="145"/>
                  <a:pt x="317" y="138"/>
                </a:cubicBezTo>
                <a:cubicBezTo>
                  <a:pt x="220" y="138"/>
                  <a:pt x="220" y="138"/>
                  <a:pt x="220" y="138"/>
                </a:cubicBezTo>
                <a:cubicBezTo>
                  <a:pt x="223" y="145"/>
                  <a:pt x="224" y="152"/>
                  <a:pt x="224" y="160"/>
                </a:cubicBezTo>
                <a:moveTo>
                  <a:pt x="97" y="145"/>
                </a:moveTo>
                <a:cubicBezTo>
                  <a:pt x="98" y="139"/>
                  <a:pt x="100" y="134"/>
                  <a:pt x="103" y="129"/>
                </a:cubicBezTo>
                <a:cubicBezTo>
                  <a:pt x="13" y="96"/>
                  <a:pt x="13" y="96"/>
                  <a:pt x="13" y="96"/>
                </a:cubicBezTo>
                <a:cubicBezTo>
                  <a:pt x="11" y="101"/>
                  <a:pt x="9" y="107"/>
                  <a:pt x="7" y="112"/>
                </a:cubicBezTo>
                <a:lnTo>
                  <a:pt x="97" y="145"/>
                </a:lnTo>
                <a:close/>
                <a:moveTo>
                  <a:pt x="280" y="54"/>
                </a:moveTo>
                <a:cubicBezTo>
                  <a:pt x="207" y="115"/>
                  <a:pt x="207" y="115"/>
                  <a:pt x="207" y="115"/>
                </a:cubicBezTo>
                <a:cubicBezTo>
                  <a:pt x="208" y="117"/>
                  <a:pt x="210" y="119"/>
                  <a:pt x="212" y="121"/>
                </a:cubicBezTo>
                <a:cubicBezTo>
                  <a:pt x="285" y="60"/>
                  <a:pt x="285" y="60"/>
                  <a:pt x="285" y="60"/>
                </a:cubicBezTo>
                <a:cubicBezTo>
                  <a:pt x="283" y="58"/>
                  <a:pt x="281" y="56"/>
                  <a:pt x="280" y="54"/>
                </a:cubicBezTo>
                <a:moveTo>
                  <a:pt x="243" y="23"/>
                </a:moveTo>
                <a:cubicBezTo>
                  <a:pt x="241" y="21"/>
                  <a:pt x="238" y="20"/>
                  <a:pt x="236" y="18"/>
                </a:cubicBezTo>
                <a:cubicBezTo>
                  <a:pt x="188" y="102"/>
                  <a:pt x="188" y="102"/>
                  <a:pt x="188" y="102"/>
                </a:cubicBezTo>
                <a:cubicBezTo>
                  <a:pt x="190" y="103"/>
                  <a:pt x="193" y="104"/>
                  <a:pt x="196" y="106"/>
                </a:cubicBezTo>
                <a:lnTo>
                  <a:pt x="243" y="23"/>
                </a:lnTo>
                <a:close/>
                <a:moveTo>
                  <a:pt x="116" y="112"/>
                </a:moveTo>
                <a:cubicBezTo>
                  <a:pt x="42" y="50"/>
                  <a:pt x="42" y="50"/>
                  <a:pt x="42" y="50"/>
                </a:cubicBezTo>
                <a:cubicBezTo>
                  <a:pt x="39" y="54"/>
                  <a:pt x="36" y="58"/>
                  <a:pt x="33" y="62"/>
                </a:cubicBezTo>
                <a:cubicBezTo>
                  <a:pt x="106" y="124"/>
                  <a:pt x="106" y="124"/>
                  <a:pt x="106" y="124"/>
                </a:cubicBezTo>
                <a:cubicBezTo>
                  <a:pt x="109" y="119"/>
                  <a:pt x="112" y="116"/>
                  <a:pt x="116" y="112"/>
                </a:cubicBezTo>
                <a:moveTo>
                  <a:pt x="166" y="95"/>
                </a:moveTo>
                <a:cubicBezTo>
                  <a:pt x="169" y="96"/>
                  <a:pt x="172" y="96"/>
                  <a:pt x="175" y="97"/>
                </a:cubicBezTo>
                <a:cubicBezTo>
                  <a:pt x="192" y="2"/>
                  <a:pt x="192" y="2"/>
                  <a:pt x="192" y="2"/>
                </a:cubicBezTo>
                <a:cubicBezTo>
                  <a:pt x="189" y="1"/>
                  <a:pt x="186" y="1"/>
                  <a:pt x="183" y="0"/>
                </a:cubicBezTo>
                <a:lnTo>
                  <a:pt x="166" y="95"/>
                </a:lnTo>
                <a:close/>
              </a:path>
            </a:pathLst>
          </a:custGeom>
          <a:solidFill>
            <a:schemeClr val="tx1"/>
          </a:solidFill>
          <a:ln>
            <a:noFill/>
          </a:ln>
        </p:spPr>
        <p:txBody>
          <a:bodyPr vert="horz" wrap="square" lIns="121888" tIns="60944" rIns="121888" bIns="60944" numCol="1" anchor="t" anchorCtr="0" compatLnSpc="1">
            <a:prstTxWarp prst="textNoShape">
              <a:avLst/>
            </a:prstTxWarp>
          </a:bodyPr>
          <a:lstStyle/>
          <a:p>
            <a:endParaRPr lang="en-US" sz="3199"/>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3" name="Footer Placeholder 2">
            <a:extLst>
              <a:ext uri="{FF2B5EF4-FFF2-40B4-BE49-F238E27FC236}">
                <a16:creationId xmlns:a16="http://schemas.microsoft.com/office/drawing/2014/main" id="{3C75B21E-0BD8-F94F-ABE9-B059D58347A6}"/>
              </a:ext>
            </a:extLst>
          </p:cNvPr>
          <p:cNvSpPr>
            <a:spLocks noGrp="1"/>
          </p:cNvSpPr>
          <p:nvPr>
            <p:ph type="ftr" sz="quarter" idx="16"/>
          </p:nvPr>
        </p:nvSpPr>
        <p:spPr/>
        <p:txBody>
          <a:bodyPr/>
          <a:lstStyle/>
          <a:p>
            <a:r>
              <a:rPr lang="en-US" dirty="0">
                <a:cs typeface="DIN-Light"/>
              </a:rPr>
              <a:t>© 2022 </a:t>
            </a:r>
            <a:r>
              <a:rPr lang="en-US" dirty="0"/>
              <a:t>Collins Aerospace.  | Collins Aerospace Proprietary.  |  This document does not include any export controlled technical data.</a:t>
            </a:r>
          </a:p>
        </p:txBody>
      </p:sp>
    </p:spTree>
    <p:extLst>
      <p:ext uri="{BB962C8B-B14F-4D97-AF65-F5344CB8AC3E}">
        <p14:creationId xmlns:p14="http://schemas.microsoft.com/office/powerpoint/2010/main" val="3329871953"/>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2008402"/>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79876965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3"/>
            <a:ext cx="5247571" cy="3723167"/>
          </a:xfrm>
          <a:noFill/>
        </p:spPr>
        <p:txBody>
          <a:bodyPr rIns="182880"/>
          <a:lstStyle>
            <a:lvl1pPr marL="219456"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3" y="2068032"/>
            <a:ext cx="5247167" cy="3723167"/>
          </a:xfrm>
          <a:noFill/>
        </p:spPr>
        <p:txBody>
          <a:bodyPr rIns="182880"/>
          <a:lstStyle>
            <a:lvl1pPr marL="219456"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646396788"/>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646038096"/>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1475700"/>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68929068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362649073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20108587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40973429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Collins Cover: Bombardier Challeng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8376E2-3CB4-9045-8931-A3609F0A1599}"/>
              </a:ext>
            </a:extLst>
          </p:cNvPr>
          <p:cNvPicPr>
            <a:picLocks noChangeAspect="1"/>
          </p:cNvPicPr>
          <p:nvPr userDrawn="1"/>
        </p:nvPicPr>
        <p:blipFill>
          <a:blip r:embed="rId2"/>
          <a:stretch>
            <a:fillRect/>
          </a:stretch>
        </p:blipFill>
        <p:spPr>
          <a:xfrm>
            <a:off x="3175" y="0"/>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8" name="Graphic 7">
            <a:extLst>
              <a:ext uri="{FF2B5EF4-FFF2-40B4-BE49-F238E27FC236}">
                <a16:creationId xmlns:a16="http://schemas.microsoft.com/office/drawing/2014/main" id="{2CC691F9-2696-8A42-9AE2-E828441D090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D167C4F7-4602-644E-8974-9A2BD1FBE32C}"/>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142949097"/>
      </p:ext>
    </p:extLst>
  </p:cSld>
  <p:clrMapOvr>
    <a:masterClrMapping/>
  </p:clrMapOvr>
  <p:extLst>
    <p:ext uri="{DCECCB84-F9BA-43D5-87BE-67443E8EF086}">
      <p15:sldGuideLst xmlns:p15="http://schemas.microsoft.com/office/powerpoint/2012/main">
        <p15:guide id="1" orient="horz" pos="3552" userDrawn="1">
          <p15:clr>
            <a:srgbClr val="FBAE40"/>
          </p15:clr>
        </p15:guide>
        <p15:guide id="2" orient="horz" pos="3144"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1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125408857"/>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cSld name="2_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405936933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705610134"/>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1475700"/>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806895643"/>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llins Content: 1 column/photo">
    <p:bg>
      <p:bgRef idx="1001">
        <a:schemeClr val="bg1"/>
      </p:bgRef>
    </p:bg>
    <p:spTree>
      <p:nvGrpSpPr>
        <p:cNvPr id="1" name=""/>
        <p:cNvGrpSpPr/>
        <p:nvPr/>
      </p:nvGrpSpPr>
      <p:grpSpPr>
        <a:xfrm>
          <a:off x="0" y="0"/>
          <a:ext cx="0" cy="0"/>
          <a:chOff x="0" y="0"/>
          <a:chExt cx="0" cy="0"/>
        </a:xfrm>
      </p:grpSpPr>
      <p:sp>
        <p:nvSpPr>
          <p:cNvPr id="31" name="Body 1"/>
          <p:cNvSpPr>
            <a:spLocks noGrp="1"/>
          </p:cNvSpPr>
          <p:nvPr>
            <p:ph type="body" sz="quarter" idx="13" hasCustomPrompt="1"/>
          </p:nvPr>
        </p:nvSpPr>
        <p:spPr>
          <a:xfrm>
            <a:off x="696433" y="2251609"/>
            <a:ext cx="3418367" cy="3539591"/>
          </a:xfrm>
          <a:noFill/>
        </p:spPr>
        <p:txBody>
          <a:bodyPr/>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7" hasCustomPrompt="1"/>
          </p:nvPr>
        </p:nvSpPr>
        <p:spPr>
          <a:xfrm>
            <a:off x="4381500" y="1572733"/>
            <a:ext cx="7124700" cy="4218468"/>
          </a:xfrm>
          <a:solidFill>
            <a:schemeClr val="bg2"/>
          </a:solidFill>
        </p:spPr>
        <p:txBody>
          <a:bodyPr tIns="1188720"/>
          <a:lstStyle>
            <a:lvl1pPr marL="0" indent="0" algn="ctr">
              <a:buNone/>
              <a:defRPr/>
            </a:lvl1pPr>
          </a:lstStyle>
          <a:p>
            <a:r>
              <a:rPr lang="en-US" dirty="0"/>
              <a:t>Click to insert photo</a:t>
            </a:r>
          </a:p>
        </p:txBody>
      </p:sp>
      <p:sp>
        <p:nvSpPr>
          <p:cNvPr id="1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9" name="Text Placeholder 2"/>
          <p:cNvSpPr>
            <a:spLocks noGrp="1"/>
          </p:cNvSpPr>
          <p:nvPr>
            <p:ph type="body" sz="quarter" idx="21" hasCustomPrompt="1"/>
          </p:nvPr>
        </p:nvSpPr>
        <p:spPr>
          <a:xfrm>
            <a:off x="695325" y="1572733"/>
            <a:ext cx="3419475" cy="590931"/>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0"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spc="300"/>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8C1C86D5-FAD5-0C48-B07B-53F7036D5DF0}"/>
              </a:ext>
            </a:extLst>
          </p:cNvPr>
          <p:cNvSpPr>
            <a:spLocks noGrp="1"/>
          </p:cNvSpPr>
          <p:nvPr>
            <p:ph type="ftr" sz="quarter" idx="22"/>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8693664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799" y="2008402"/>
            <a:ext cx="10829543" cy="3782798"/>
          </a:xfrm>
          <a:noFill/>
        </p:spPr>
        <p:txBody>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801256116"/>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3"/>
            <a:ext cx="5247571" cy="3723167"/>
          </a:xfrm>
          <a:noFill/>
        </p:spPr>
        <p:txBody>
          <a:bodyPr rIns="182880"/>
          <a:lstStyle>
            <a:lvl1pPr marL="219456"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3" y="2068032"/>
            <a:ext cx="5247167" cy="3723167"/>
          </a:xfrm>
          <a:noFill/>
        </p:spPr>
        <p:txBody>
          <a:bodyPr rIns="182880"/>
          <a:lstStyle>
            <a:lvl1pPr marL="219456" indent="-219456" algn="l" defTabSz="914400"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3"/>
            <a:ext cx="5248274"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4144760594"/>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ollins Content: 3 column">
    <p:spTree>
      <p:nvGrpSpPr>
        <p:cNvPr id="1" name=""/>
        <p:cNvGrpSpPr/>
        <p:nvPr/>
      </p:nvGrpSpPr>
      <p:grpSpPr>
        <a:xfrm>
          <a:off x="0" y="0"/>
          <a:ext cx="0" cy="0"/>
          <a:chOff x="0" y="0"/>
          <a:chExt cx="0" cy="0"/>
        </a:xfrm>
      </p:grpSpPr>
      <p:sp>
        <p:nvSpPr>
          <p:cNvPr id="13" name="Body 3"/>
          <p:cNvSpPr>
            <a:spLocks noGrp="1"/>
          </p:cNvSpPr>
          <p:nvPr>
            <p:ph type="body" sz="quarter" idx="18" hasCustomPrompt="1"/>
          </p:nvPr>
        </p:nvSpPr>
        <p:spPr>
          <a:xfrm>
            <a:off x="8092684" y="2258533"/>
            <a:ext cx="3413515"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ody 2"/>
          <p:cNvSpPr>
            <a:spLocks noGrp="1"/>
          </p:cNvSpPr>
          <p:nvPr>
            <p:ph type="body" sz="quarter" idx="17" hasCustomPrompt="1"/>
          </p:nvPr>
        </p:nvSpPr>
        <p:spPr>
          <a:xfrm>
            <a:off x="4396984" y="2258533"/>
            <a:ext cx="3413516"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2" y="2258533"/>
            <a:ext cx="3418367" cy="3532667"/>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4" name="Text Placeholder 2"/>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ext Placeholder 2"/>
          <p:cNvSpPr>
            <a:spLocks noGrp="1"/>
          </p:cNvSpPr>
          <p:nvPr>
            <p:ph type="body" sz="quarter" idx="23" hasCustomPrompt="1"/>
          </p:nvPr>
        </p:nvSpPr>
        <p:spPr>
          <a:xfrm>
            <a:off x="4364234"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4" hasCustomPrompt="1"/>
          </p:nvPr>
        </p:nvSpPr>
        <p:spPr>
          <a:xfrm>
            <a:off x="8077200" y="1572733"/>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0325C011-809B-F142-87DD-B50CF52804EA}"/>
              </a:ext>
            </a:extLst>
          </p:cNvPr>
          <p:cNvSpPr>
            <a:spLocks noGrp="1"/>
          </p:cNvSpPr>
          <p:nvPr>
            <p:ph type="ftr" sz="quarter" idx="2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645784563"/>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ollins Content: 3 columns/photos">
    <p:spTree>
      <p:nvGrpSpPr>
        <p:cNvPr id="1" name=""/>
        <p:cNvGrpSpPr/>
        <p:nvPr/>
      </p:nvGrpSpPr>
      <p:grpSpPr>
        <a:xfrm>
          <a:off x="0" y="0"/>
          <a:ext cx="0" cy="0"/>
          <a:chOff x="0" y="0"/>
          <a:chExt cx="0" cy="0"/>
        </a:xfrm>
      </p:grpSpPr>
      <p:sp>
        <p:nvSpPr>
          <p:cNvPr id="3" name="Picture Placeholder 2"/>
          <p:cNvSpPr>
            <a:spLocks noGrp="1"/>
          </p:cNvSpPr>
          <p:nvPr>
            <p:ph type="pic" sz="quarter" idx="22" hasCustomPrompt="1"/>
          </p:nvPr>
        </p:nvSpPr>
        <p:spPr>
          <a:xfrm>
            <a:off x="685800" y="1312494"/>
            <a:ext cx="3429000" cy="1829708"/>
          </a:xfrm>
          <a:solidFill>
            <a:schemeClr val="bg2"/>
          </a:solidFill>
        </p:spPr>
        <p:txBody>
          <a:bodyPr tIns="365760"/>
          <a:lstStyle>
            <a:lvl1pPr marL="0" indent="0" algn="ctr">
              <a:buNone/>
              <a:defRPr sz="1800"/>
            </a:lvl1pPr>
          </a:lstStyle>
          <a:p>
            <a:r>
              <a:rPr lang="en-US" dirty="0"/>
              <a:t>Click to insert photo</a:t>
            </a:r>
          </a:p>
        </p:txBody>
      </p:sp>
      <p:sp>
        <p:nvSpPr>
          <p:cNvPr id="20" name="Picture Placeholder 2"/>
          <p:cNvSpPr>
            <a:spLocks noGrp="1"/>
          </p:cNvSpPr>
          <p:nvPr>
            <p:ph type="pic" sz="quarter" idx="23" hasCustomPrompt="1"/>
          </p:nvPr>
        </p:nvSpPr>
        <p:spPr>
          <a:xfrm>
            <a:off x="4381500" y="1312493"/>
            <a:ext cx="3429000" cy="1829709"/>
          </a:xfrm>
          <a:solidFill>
            <a:schemeClr val="bg2"/>
          </a:solidFill>
        </p:spPr>
        <p:txBody>
          <a:bodyPr tIns="365760"/>
          <a:lstStyle>
            <a:lvl1pPr marL="0" indent="0" algn="ctr">
              <a:buNone/>
              <a:defRPr sz="1800" baseline="0"/>
            </a:lvl1pPr>
          </a:lstStyle>
          <a:p>
            <a:r>
              <a:rPr lang="en-US" dirty="0"/>
              <a:t>Click to insert photo</a:t>
            </a:r>
          </a:p>
        </p:txBody>
      </p:sp>
      <p:sp>
        <p:nvSpPr>
          <p:cNvPr id="21" name="Picture Placeholder 2"/>
          <p:cNvSpPr>
            <a:spLocks noGrp="1"/>
          </p:cNvSpPr>
          <p:nvPr>
            <p:ph type="pic" sz="quarter" idx="24" hasCustomPrompt="1"/>
          </p:nvPr>
        </p:nvSpPr>
        <p:spPr>
          <a:xfrm>
            <a:off x="8077200" y="1312494"/>
            <a:ext cx="3429000" cy="1829708"/>
          </a:xfrm>
          <a:solidFill>
            <a:schemeClr val="bg2"/>
          </a:solidFill>
        </p:spPr>
        <p:txBody>
          <a:bodyPr tIns="365760"/>
          <a:lstStyle>
            <a:lvl1pPr marL="0" indent="0" algn="ctr">
              <a:buNone/>
              <a:defRPr sz="1800" baseline="0"/>
            </a:lvl1pPr>
          </a:lstStyle>
          <a:p>
            <a:r>
              <a:rPr lang="en-US" dirty="0"/>
              <a:t>Click to insert photo</a:t>
            </a:r>
          </a:p>
        </p:txBody>
      </p:sp>
      <p:sp>
        <p:nvSpPr>
          <p:cNvPr id="18"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43" name="Body 3"/>
          <p:cNvSpPr>
            <a:spLocks noGrp="1"/>
          </p:cNvSpPr>
          <p:nvPr>
            <p:ph type="body" sz="quarter" idx="18" hasCustomPrompt="1"/>
          </p:nvPr>
        </p:nvSpPr>
        <p:spPr>
          <a:xfrm>
            <a:off x="8077200" y="3897989"/>
            <a:ext cx="3429000" cy="1829708"/>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Body 2"/>
          <p:cNvSpPr>
            <a:spLocks noGrp="1"/>
          </p:cNvSpPr>
          <p:nvPr>
            <p:ph type="body" sz="quarter" idx="17" hasCustomPrompt="1"/>
          </p:nvPr>
        </p:nvSpPr>
        <p:spPr>
          <a:xfrm>
            <a:off x="4381500" y="3897989"/>
            <a:ext cx="3429000" cy="1829709"/>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Body 1"/>
          <p:cNvSpPr>
            <a:spLocks noGrp="1"/>
          </p:cNvSpPr>
          <p:nvPr>
            <p:ph type="body" sz="quarter" idx="13" hasCustomPrompt="1"/>
          </p:nvPr>
        </p:nvSpPr>
        <p:spPr>
          <a:xfrm>
            <a:off x="696433" y="3897990"/>
            <a:ext cx="3418367" cy="1830552"/>
          </a:xfrm>
          <a:noFill/>
        </p:spPr>
        <p:txBody>
          <a:bodyPr rIns="182880"/>
          <a:lstStyle>
            <a:lvl1pPr marL="219451" marR="0" indent="-219451" algn="l" defTabSz="914400"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9" name="Text Placeholder 2"/>
          <p:cNvSpPr>
            <a:spLocks noGrp="1"/>
          </p:cNvSpPr>
          <p:nvPr>
            <p:ph type="body" sz="quarter" idx="21" hasCustomPrompt="1"/>
          </p:nvPr>
        </p:nvSpPr>
        <p:spPr>
          <a:xfrm>
            <a:off x="695325"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0" name="Text Placeholder 2"/>
          <p:cNvSpPr>
            <a:spLocks noGrp="1"/>
          </p:cNvSpPr>
          <p:nvPr>
            <p:ph type="body" sz="quarter" idx="26" hasCustomPrompt="1"/>
          </p:nvPr>
        </p:nvSpPr>
        <p:spPr>
          <a:xfrm>
            <a:off x="4364234"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1" name="Text Placeholder 2"/>
          <p:cNvSpPr>
            <a:spLocks noGrp="1"/>
          </p:cNvSpPr>
          <p:nvPr>
            <p:ph type="body" sz="quarter" idx="27" hasCustomPrompt="1"/>
          </p:nvPr>
        </p:nvSpPr>
        <p:spPr>
          <a:xfrm>
            <a:off x="8077200" y="3293426"/>
            <a:ext cx="3419475" cy="590931"/>
          </a:xfr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22"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2FFE885-255A-DE4B-B7E6-9A98CEBD81FA}"/>
              </a:ext>
            </a:extLst>
          </p:cNvPr>
          <p:cNvSpPr>
            <a:spLocks noGrp="1"/>
          </p:cNvSpPr>
          <p:nvPr>
            <p:ph type="ftr" sz="quarter" idx="2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444914761"/>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llins Content: Text Quad">
    <p:spTree>
      <p:nvGrpSpPr>
        <p:cNvPr id="1" name=""/>
        <p:cNvGrpSpPr/>
        <p:nvPr/>
      </p:nvGrpSpPr>
      <p:grpSpPr>
        <a:xfrm>
          <a:off x="0" y="0"/>
          <a:ext cx="0" cy="0"/>
          <a:chOff x="0" y="0"/>
          <a:chExt cx="0" cy="0"/>
        </a:xfrm>
      </p:grpSpPr>
      <p:sp>
        <p:nvSpPr>
          <p:cNvPr id="14" name="Body 4"/>
          <p:cNvSpPr>
            <a:spLocks noGrp="1"/>
          </p:cNvSpPr>
          <p:nvPr>
            <p:ph type="body" sz="quarter" idx="19" hasCustomPrompt="1"/>
          </p:nvPr>
        </p:nvSpPr>
        <p:spPr>
          <a:xfrm>
            <a:off x="6260431" y="4060048"/>
            <a:ext cx="5257801"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2" name="Body 3"/>
          <p:cNvSpPr>
            <a:spLocks noGrp="1"/>
          </p:cNvSpPr>
          <p:nvPr>
            <p:ph type="body" sz="quarter" idx="17" hasCustomPrompt="1"/>
          </p:nvPr>
        </p:nvSpPr>
        <p:spPr>
          <a:xfrm>
            <a:off x="6260431" y="1922165"/>
            <a:ext cx="5257800"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3" name="Body 2"/>
          <p:cNvSpPr>
            <a:spLocks noGrp="1"/>
          </p:cNvSpPr>
          <p:nvPr>
            <p:ph type="body" sz="quarter" idx="18" hasCustomPrompt="1"/>
          </p:nvPr>
        </p:nvSpPr>
        <p:spPr>
          <a:xfrm>
            <a:off x="697832" y="4060048"/>
            <a:ext cx="5241850" cy="142635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31" name="Body 1"/>
          <p:cNvSpPr>
            <a:spLocks noGrp="1"/>
          </p:cNvSpPr>
          <p:nvPr>
            <p:ph type="body" sz="quarter" idx="13" hasCustomPrompt="1"/>
          </p:nvPr>
        </p:nvSpPr>
        <p:spPr>
          <a:xfrm>
            <a:off x="698345" y="1922165"/>
            <a:ext cx="5240823" cy="1426464"/>
          </a:xfrm>
          <a:noFill/>
        </p:spPr>
        <p:txBody>
          <a:bodyPr rIns="182880"/>
          <a:lstStyle>
            <a:lvl1pPr marL="219451" indent="-219451" algn="l" defTabSz="914400"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6" algn="l" defTabSz="914400"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6" algn="l" defTabSz="914400"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23"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5" name="Text Placeholder 2"/>
          <p:cNvSpPr>
            <a:spLocks noGrp="1"/>
          </p:cNvSpPr>
          <p:nvPr>
            <p:ph type="body" sz="quarter" idx="21" hasCustomPrompt="1"/>
          </p:nvPr>
        </p:nvSpPr>
        <p:spPr>
          <a:xfrm>
            <a:off x="6271500"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5" hasCustomPrompt="1"/>
          </p:nvPr>
        </p:nvSpPr>
        <p:spPr>
          <a:xfrm>
            <a:off x="699757" y="158053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ext Placeholder 2"/>
          <p:cNvSpPr>
            <a:spLocks noGrp="1"/>
          </p:cNvSpPr>
          <p:nvPr>
            <p:ph type="body" sz="quarter" idx="26" hasCustomPrompt="1"/>
          </p:nvPr>
        </p:nvSpPr>
        <p:spPr>
          <a:xfrm>
            <a:off x="6271500"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8" name="Text Placeholder 2"/>
          <p:cNvSpPr>
            <a:spLocks noGrp="1"/>
          </p:cNvSpPr>
          <p:nvPr>
            <p:ph type="body" sz="quarter" idx="27" hasCustomPrompt="1"/>
          </p:nvPr>
        </p:nvSpPr>
        <p:spPr>
          <a:xfrm>
            <a:off x="699757" y="3714404"/>
            <a:ext cx="5243843"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9" name="Title 5"/>
          <p:cNvSpPr>
            <a:spLocks noGrp="1"/>
          </p:cNvSpPr>
          <p:nvPr>
            <p:ph type="title" hasCustomPrompt="1"/>
          </p:nvPr>
        </p:nvSpPr>
        <p:spPr>
          <a:xfrm>
            <a:off x="694944" y="514473"/>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21" name="Takeaway bar"/>
          <p:cNvSpPr>
            <a:spLocks noGrp="1"/>
          </p:cNvSpPr>
          <p:nvPr>
            <p:ph type="body" sz="quarter" idx="15" hasCustomPrompt="1"/>
          </p:nvPr>
        </p:nvSpPr>
        <p:spPr>
          <a:xfrm>
            <a:off x="694944" y="5912568"/>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7B211ECA-3F10-BA4A-9903-326CCDC73263}"/>
              </a:ext>
            </a:extLst>
          </p:cNvPr>
          <p:cNvSpPr>
            <a:spLocks noGrp="1"/>
          </p:cNvSpPr>
          <p:nvPr>
            <p:ph type="ftr" sz="quarter" idx="28"/>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21441875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Collins Cover: Boeing 78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544F40-B15B-9347-A626-CCC3B42174A2}"/>
              </a:ext>
            </a:extLst>
          </p:cNvPr>
          <p:cNvPicPr>
            <a:picLocks noChangeAspect="1"/>
          </p:cNvPicPr>
          <p:nvPr userDrawn="1"/>
        </p:nvPicPr>
        <p:blipFill>
          <a:blip r:embed="rId2"/>
          <a:stretch>
            <a:fillRect/>
          </a:stretch>
        </p:blipFill>
        <p:spPr>
          <a:xfrm>
            <a:off x="0" y="4763"/>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8" name="Graphic 7">
            <a:extLst>
              <a:ext uri="{FF2B5EF4-FFF2-40B4-BE49-F238E27FC236}">
                <a16:creationId xmlns:a16="http://schemas.microsoft.com/office/drawing/2014/main" id="{12ADE7C4-C9D6-C340-9D31-184D270C18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9E57AB0E-0F4E-1947-B8B6-7C262AFC57BD}"/>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592187736"/>
      </p:ext>
    </p:extLst>
  </p:cSld>
  <p:clrMapOvr>
    <a:masterClrMapping/>
  </p:clrMapOvr>
  <p:extLst>
    <p:ext uri="{DCECCB84-F9BA-43D5-87BE-67443E8EF086}">
      <p15:sldGuideLst xmlns:p15="http://schemas.microsoft.com/office/powerpoint/2012/main">
        <p15:guide id="1" orient="horz" pos="3552" userDrawn="1">
          <p15:clr>
            <a:srgbClr val="FBAE40"/>
          </p15:clr>
        </p15:guide>
        <p15:guide id="2" orient="horz" pos="3144"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ollins Cover: Boeing 78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544F40-B15B-9347-A626-CCC3B42174A2}"/>
              </a:ext>
            </a:extLst>
          </p:cNvPr>
          <p:cNvPicPr>
            <a:picLocks noChangeAspect="1"/>
          </p:cNvPicPr>
          <p:nvPr userDrawn="1"/>
        </p:nvPicPr>
        <p:blipFill>
          <a:blip r:embed="rId2"/>
          <a:stretch>
            <a:fillRect/>
          </a:stretch>
        </p:blipFill>
        <p:spPr>
          <a:xfrm>
            <a:off x="0" y="4763"/>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8" name="Graphic 7">
            <a:extLst>
              <a:ext uri="{FF2B5EF4-FFF2-40B4-BE49-F238E27FC236}">
                <a16:creationId xmlns:a16="http://schemas.microsoft.com/office/drawing/2014/main" id="{12ADE7C4-C9D6-C340-9D31-184D270C18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9E57AB0E-0F4E-1947-B8B6-7C262AFC57BD}"/>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294523486"/>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3756902569"/>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1320394016"/>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1" y="1535114"/>
            <a:ext cx="5386917"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4" name="Content Placeholder 3"/>
          <p:cNvSpPr>
            <a:spLocks noGrp="1"/>
          </p:cNvSpPr>
          <p:nvPr>
            <p:ph sz="half" idx="2"/>
          </p:nvPr>
        </p:nvSpPr>
        <p:spPr>
          <a:xfrm>
            <a:off x="609601" y="2174875"/>
            <a:ext cx="5386917" cy="3013971"/>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6" name="Content Placeholder 5"/>
          <p:cNvSpPr>
            <a:spLocks noGrp="1"/>
          </p:cNvSpPr>
          <p:nvPr>
            <p:ph sz="quarter" idx="4"/>
          </p:nvPr>
        </p:nvSpPr>
        <p:spPr>
          <a:xfrm>
            <a:off x="6193368" y="2174874"/>
            <a:ext cx="5389033" cy="2921349"/>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xfrm>
            <a:off x="4049037" y="5466718"/>
            <a:ext cx="3860800" cy="244475"/>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23590838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Collins Cover: Military - C-130H">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4BFDA5F-0D24-CF41-8117-AC1C5A13E31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sp>
        <p:nvSpPr>
          <p:cNvPr id="9" name="Logo">
            <a:extLst>
              <a:ext uri="{FF2B5EF4-FFF2-40B4-BE49-F238E27FC236}">
                <a16:creationId xmlns:a16="http://schemas.microsoft.com/office/drawing/2014/main" id="{FB6B4263-0223-C444-A148-BC527D99CBD1}"/>
              </a:ext>
            </a:extLst>
          </p:cNvPr>
          <p:cNvSpPr>
            <a:spLocks noChangeAspect="1" noEditPoints="1"/>
          </p:cNvSpPr>
          <p:nvPr userDrawn="1"/>
        </p:nvSpPr>
        <p:spPr bwMode="auto">
          <a:xfrm>
            <a:off x="472097" y="5520829"/>
            <a:ext cx="3071203" cy="520212"/>
          </a:xfrm>
          <a:custGeom>
            <a:avLst/>
            <a:gdLst>
              <a:gd name="T0" fmla="*/ 1871 w 1887"/>
              <a:gd name="T1" fmla="*/ 204 h 319"/>
              <a:gd name="T2" fmla="*/ 1811 w 1887"/>
              <a:gd name="T3" fmla="*/ 126 h 319"/>
              <a:gd name="T4" fmla="*/ 1886 w 1887"/>
              <a:gd name="T5" fmla="*/ 168 h 319"/>
              <a:gd name="T6" fmla="*/ 1779 w 1887"/>
              <a:gd name="T7" fmla="*/ 204 h 319"/>
              <a:gd name="T8" fmla="*/ 1728 w 1887"/>
              <a:gd name="T9" fmla="*/ 126 h 319"/>
              <a:gd name="T10" fmla="*/ 1751 w 1887"/>
              <a:gd name="T11" fmla="*/ 146 h 319"/>
              <a:gd name="T12" fmla="*/ 1656 w 1887"/>
              <a:gd name="T13" fmla="*/ 179 h 319"/>
              <a:gd name="T14" fmla="*/ 1643 w 1887"/>
              <a:gd name="T15" fmla="*/ 174 h 319"/>
              <a:gd name="T16" fmla="*/ 1611 w 1887"/>
              <a:gd name="T17" fmla="*/ 141 h 319"/>
              <a:gd name="T18" fmla="*/ 1703 w 1887"/>
              <a:gd name="T19" fmla="*/ 115 h 319"/>
              <a:gd name="T20" fmla="*/ 1562 w 1887"/>
              <a:gd name="T21" fmla="*/ 174 h 319"/>
              <a:gd name="T22" fmla="*/ 1549 w 1887"/>
              <a:gd name="T23" fmla="*/ 179 h 319"/>
              <a:gd name="T24" fmla="*/ 1587 w 1887"/>
              <a:gd name="T25" fmla="*/ 126 h 319"/>
              <a:gd name="T26" fmla="*/ 1543 w 1887"/>
              <a:gd name="T27" fmla="*/ 204 h 319"/>
              <a:gd name="T28" fmla="*/ 1448 w 1887"/>
              <a:gd name="T29" fmla="*/ 145 h 319"/>
              <a:gd name="T30" fmla="*/ 1414 w 1887"/>
              <a:gd name="T31" fmla="*/ 198 h 319"/>
              <a:gd name="T32" fmla="*/ 1452 w 1887"/>
              <a:gd name="T33" fmla="*/ 173 h 319"/>
              <a:gd name="T34" fmla="*/ 1453 w 1887"/>
              <a:gd name="T35" fmla="*/ 113 h 319"/>
              <a:gd name="T36" fmla="*/ 1370 w 1887"/>
              <a:gd name="T37" fmla="*/ 175 h 319"/>
              <a:gd name="T38" fmla="*/ 1356 w 1887"/>
              <a:gd name="T39" fmla="*/ 181 h 319"/>
              <a:gd name="T40" fmla="*/ 1321 w 1887"/>
              <a:gd name="T41" fmla="*/ 126 h 319"/>
              <a:gd name="T42" fmla="*/ 1401 w 1887"/>
              <a:gd name="T43" fmla="*/ 178 h 319"/>
              <a:gd name="T44" fmla="*/ 1278 w 1887"/>
              <a:gd name="T45" fmla="*/ 118 h 319"/>
              <a:gd name="T46" fmla="*/ 1270 w 1887"/>
              <a:gd name="T47" fmla="*/ 204 h 319"/>
              <a:gd name="T48" fmla="*/ 1195 w 1887"/>
              <a:gd name="T49" fmla="*/ 150 h 319"/>
              <a:gd name="T50" fmla="*/ 1134 w 1887"/>
              <a:gd name="T51" fmla="*/ 160 h 319"/>
              <a:gd name="T52" fmla="*/ 1221 w 1887"/>
              <a:gd name="T53" fmla="*/ 138 h 319"/>
              <a:gd name="T54" fmla="*/ 1224 w 1887"/>
              <a:gd name="T55" fmla="*/ 197 h 319"/>
              <a:gd name="T56" fmla="*/ 1133 w 1887"/>
              <a:gd name="T57" fmla="*/ 204 h 319"/>
              <a:gd name="T58" fmla="*/ 921 w 1887"/>
              <a:gd name="T59" fmla="*/ 135 h 319"/>
              <a:gd name="T60" fmla="*/ 915 w 1887"/>
              <a:gd name="T61" fmla="*/ 207 h 319"/>
              <a:gd name="T62" fmla="*/ 924 w 1887"/>
              <a:gd name="T63" fmla="*/ 176 h 319"/>
              <a:gd name="T64" fmla="*/ 881 w 1887"/>
              <a:gd name="T65" fmla="*/ 141 h 319"/>
              <a:gd name="T66" fmla="*/ 921 w 1887"/>
              <a:gd name="T67" fmla="*/ 135 h 319"/>
              <a:gd name="T68" fmla="*/ 866 w 1887"/>
              <a:gd name="T69" fmla="*/ 150 h 319"/>
              <a:gd name="T70" fmla="*/ 810 w 1887"/>
              <a:gd name="T71" fmla="*/ 204 h 319"/>
              <a:gd name="T72" fmla="*/ 729 w 1887"/>
              <a:gd name="T73" fmla="*/ 115 h 319"/>
              <a:gd name="T74" fmla="*/ 762 w 1887"/>
              <a:gd name="T75" fmla="*/ 85 h 319"/>
              <a:gd name="T76" fmla="*/ 676 w 1887"/>
              <a:gd name="T77" fmla="*/ 73 h 319"/>
              <a:gd name="T78" fmla="*/ 578 w 1887"/>
              <a:gd name="T79" fmla="*/ 175 h 319"/>
              <a:gd name="T80" fmla="*/ 564 w 1887"/>
              <a:gd name="T81" fmla="*/ 181 h 319"/>
              <a:gd name="T82" fmla="*/ 529 w 1887"/>
              <a:gd name="T83" fmla="*/ 125 h 319"/>
              <a:gd name="T84" fmla="*/ 609 w 1887"/>
              <a:gd name="T85" fmla="*/ 178 h 319"/>
              <a:gd name="T86" fmla="*/ 432 w 1887"/>
              <a:gd name="T87" fmla="*/ 201 h 319"/>
              <a:gd name="T88" fmla="*/ 464 w 1887"/>
              <a:gd name="T89" fmla="*/ 72 h 319"/>
              <a:gd name="T90" fmla="*/ 480 w 1887"/>
              <a:gd name="T91" fmla="*/ 104 h 319"/>
              <a:gd name="T92" fmla="*/ 449 w 1887"/>
              <a:gd name="T93" fmla="*/ 173 h 319"/>
              <a:gd name="T94" fmla="*/ 154 w 1887"/>
              <a:gd name="T95" fmla="*/ 95 h 319"/>
              <a:gd name="T96" fmla="*/ 122 w 1887"/>
              <a:gd name="T97" fmla="*/ 107 h 319"/>
              <a:gd name="T98" fmla="*/ 95 w 1887"/>
              <a:gd name="T99" fmla="*/ 160 h 319"/>
              <a:gd name="T100" fmla="*/ 30 w 1887"/>
              <a:gd name="T101" fmla="*/ 253 h 319"/>
              <a:gd name="T102" fmla="*/ 146 w 1887"/>
              <a:gd name="T103" fmla="*/ 319 h 319"/>
              <a:gd name="T104" fmla="*/ 220 w 1887"/>
              <a:gd name="T105" fmla="*/ 231 h 319"/>
              <a:gd name="T106" fmla="*/ 318 w 1887"/>
              <a:gd name="T107" fmla="*/ 177 h 319"/>
              <a:gd name="T108" fmla="*/ 13 w 1887"/>
              <a:gd name="T109" fmla="*/ 96 h 319"/>
              <a:gd name="T110" fmla="*/ 280 w 1887"/>
              <a:gd name="T111" fmla="*/ 54 h 319"/>
              <a:gd name="T112" fmla="*/ 42 w 1887"/>
              <a:gd name="T113" fmla="*/ 50 h 319"/>
              <a:gd name="T114" fmla="*/ 183 w 1887"/>
              <a:gd name="T11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7" h="319">
                <a:moveTo>
                  <a:pt x="1859" y="150"/>
                </a:moveTo>
                <a:cubicBezTo>
                  <a:pt x="1858" y="145"/>
                  <a:pt x="1856" y="142"/>
                  <a:pt x="1854" y="139"/>
                </a:cubicBezTo>
                <a:cubicBezTo>
                  <a:pt x="1851" y="136"/>
                  <a:pt x="1848" y="135"/>
                  <a:pt x="1844" y="135"/>
                </a:cubicBezTo>
                <a:cubicBezTo>
                  <a:pt x="1835" y="135"/>
                  <a:pt x="1830" y="140"/>
                  <a:pt x="1828" y="150"/>
                </a:cubicBezTo>
                <a:lnTo>
                  <a:pt x="1859" y="150"/>
                </a:lnTo>
                <a:close/>
                <a:moveTo>
                  <a:pt x="1887" y="197"/>
                </a:moveTo>
                <a:cubicBezTo>
                  <a:pt x="1883" y="200"/>
                  <a:pt x="1877" y="203"/>
                  <a:pt x="1871" y="204"/>
                </a:cubicBezTo>
                <a:cubicBezTo>
                  <a:pt x="1865" y="206"/>
                  <a:pt x="1858" y="207"/>
                  <a:pt x="1851" y="207"/>
                </a:cubicBezTo>
                <a:cubicBezTo>
                  <a:pt x="1843" y="207"/>
                  <a:pt x="1835" y="206"/>
                  <a:pt x="1829" y="203"/>
                </a:cubicBezTo>
                <a:cubicBezTo>
                  <a:pt x="1822" y="201"/>
                  <a:pt x="1817" y="198"/>
                  <a:pt x="1812" y="194"/>
                </a:cubicBezTo>
                <a:cubicBezTo>
                  <a:pt x="1807" y="190"/>
                  <a:pt x="1804" y="185"/>
                  <a:pt x="1801" y="179"/>
                </a:cubicBezTo>
                <a:cubicBezTo>
                  <a:pt x="1799" y="173"/>
                  <a:pt x="1798" y="167"/>
                  <a:pt x="1798" y="160"/>
                </a:cubicBezTo>
                <a:cubicBezTo>
                  <a:pt x="1798" y="153"/>
                  <a:pt x="1799" y="146"/>
                  <a:pt x="1801" y="141"/>
                </a:cubicBezTo>
                <a:cubicBezTo>
                  <a:pt x="1803" y="135"/>
                  <a:pt x="1806" y="130"/>
                  <a:pt x="1811" y="126"/>
                </a:cubicBezTo>
                <a:cubicBezTo>
                  <a:pt x="1815" y="122"/>
                  <a:pt x="1820" y="118"/>
                  <a:pt x="1825" y="116"/>
                </a:cubicBezTo>
                <a:cubicBezTo>
                  <a:pt x="1831" y="114"/>
                  <a:pt x="1837" y="113"/>
                  <a:pt x="1844" y="113"/>
                </a:cubicBezTo>
                <a:cubicBezTo>
                  <a:pt x="1851" y="113"/>
                  <a:pt x="1857" y="114"/>
                  <a:pt x="1862" y="116"/>
                </a:cubicBezTo>
                <a:cubicBezTo>
                  <a:pt x="1867" y="118"/>
                  <a:pt x="1872" y="121"/>
                  <a:pt x="1876" y="125"/>
                </a:cubicBezTo>
                <a:cubicBezTo>
                  <a:pt x="1880" y="128"/>
                  <a:pt x="1882" y="133"/>
                  <a:pt x="1884" y="138"/>
                </a:cubicBezTo>
                <a:cubicBezTo>
                  <a:pt x="1886" y="144"/>
                  <a:pt x="1887" y="150"/>
                  <a:pt x="1887" y="157"/>
                </a:cubicBezTo>
                <a:cubicBezTo>
                  <a:pt x="1887" y="161"/>
                  <a:pt x="1887" y="165"/>
                  <a:pt x="1886" y="168"/>
                </a:cubicBezTo>
                <a:cubicBezTo>
                  <a:pt x="1828" y="168"/>
                  <a:pt x="1828" y="168"/>
                  <a:pt x="1828" y="168"/>
                </a:cubicBezTo>
                <a:cubicBezTo>
                  <a:pt x="1831" y="178"/>
                  <a:pt x="1840" y="183"/>
                  <a:pt x="1854" y="183"/>
                </a:cubicBezTo>
                <a:cubicBezTo>
                  <a:pt x="1858" y="183"/>
                  <a:pt x="1862" y="182"/>
                  <a:pt x="1866" y="181"/>
                </a:cubicBezTo>
                <a:cubicBezTo>
                  <a:pt x="1870" y="180"/>
                  <a:pt x="1874" y="179"/>
                  <a:pt x="1877" y="178"/>
                </a:cubicBezTo>
                <a:lnTo>
                  <a:pt x="1887" y="197"/>
                </a:lnTo>
                <a:close/>
                <a:moveTo>
                  <a:pt x="1794" y="198"/>
                </a:moveTo>
                <a:cubicBezTo>
                  <a:pt x="1790" y="201"/>
                  <a:pt x="1785" y="203"/>
                  <a:pt x="1779" y="204"/>
                </a:cubicBezTo>
                <a:cubicBezTo>
                  <a:pt x="1774" y="206"/>
                  <a:pt x="1769" y="206"/>
                  <a:pt x="1763" y="206"/>
                </a:cubicBezTo>
                <a:cubicBezTo>
                  <a:pt x="1755" y="206"/>
                  <a:pt x="1748" y="205"/>
                  <a:pt x="1742" y="203"/>
                </a:cubicBezTo>
                <a:cubicBezTo>
                  <a:pt x="1736" y="201"/>
                  <a:pt x="1731" y="198"/>
                  <a:pt x="1727" y="194"/>
                </a:cubicBezTo>
                <a:cubicBezTo>
                  <a:pt x="1723" y="190"/>
                  <a:pt x="1719" y="185"/>
                  <a:pt x="1717" y="179"/>
                </a:cubicBezTo>
                <a:cubicBezTo>
                  <a:pt x="1715" y="173"/>
                  <a:pt x="1714" y="167"/>
                  <a:pt x="1714" y="160"/>
                </a:cubicBezTo>
                <a:cubicBezTo>
                  <a:pt x="1714" y="153"/>
                  <a:pt x="1715" y="147"/>
                  <a:pt x="1718" y="141"/>
                </a:cubicBezTo>
                <a:cubicBezTo>
                  <a:pt x="1720" y="135"/>
                  <a:pt x="1723" y="130"/>
                  <a:pt x="1728" y="126"/>
                </a:cubicBezTo>
                <a:cubicBezTo>
                  <a:pt x="1732" y="122"/>
                  <a:pt x="1737" y="119"/>
                  <a:pt x="1743" y="116"/>
                </a:cubicBezTo>
                <a:cubicBezTo>
                  <a:pt x="1749" y="114"/>
                  <a:pt x="1756" y="113"/>
                  <a:pt x="1763" y="113"/>
                </a:cubicBezTo>
                <a:cubicBezTo>
                  <a:pt x="1773" y="113"/>
                  <a:pt x="1781" y="115"/>
                  <a:pt x="1788" y="118"/>
                </a:cubicBezTo>
                <a:cubicBezTo>
                  <a:pt x="1784" y="144"/>
                  <a:pt x="1784" y="144"/>
                  <a:pt x="1784" y="144"/>
                </a:cubicBezTo>
                <a:cubicBezTo>
                  <a:pt x="1782" y="143"/>
                  <a:pt x="1779" y="142"/>
                  <a:pt x="1775" y="141"/>
                </a:cubicBezTo>
                <a:cubicBezTo>
                  <a:pt x="1772" y="141"/>
                  <a:pt x="1769" y="140"/>
                  <a:pt x="1767" y="140"/>
                </a:cubicBezTo>
                <a:cubicBezTo>
                  <a:pt x="1760" y="140"/>
                  <a:pt x="1755" y="142"/>
                  <a:pt x="1751" y="146"/>
                </a:cubicBezTo>
                <a:cubicBezTo>
                  <a:pt x="1747" y="149"/>
                  <a:pt x="1745" y="154"/>
                  <a:pt x="1745" y="160"/>
                </a:cubicBezTo>
                <a:cubicBezTo>
                  <a:pt x="1745" y="166"/>
                  <a:pt x="1747" y="170"/>
                  <a:pt x="1751" y="174"/>
                </a:cubicBezTo>
                <a:cubicBezTo>
                  <a:pt x="1755" y="177"/>
                  <a:pt x="1760" y="179"/>
                  <a:pt x="1767" y="179"/>
                </a:cubicBezTo>
                <a:cubicBezTo>
                  <a:pt x="1770" y="179"/>
                  <a:pt x="1772" y="179"/>
                  <a:pt x="1775" y="178"/>
                </a:cubicBezTo>
                <a:cubicBezTo>
                  <a:pt x="1778" y="178"/>
                  <a:pt x="1780" y="177"/>
                  <a:pt x="1782" y="176"/>
                </a:cubicBezTo>
                <a:lnTo>
                  <a:pt x="1794" y="198"/>
                </a:lnTo>
                <a:close/>
                <a:moveTo>
                  <a:pt x="1656" y="179"/>
                </a:moveTo>
                <a:cubicBezTo>
                  <a:pt x="1662" y="179"/>
                  <a:pt x="1666" y="177"/>
                  <a:pt x="1669" y="174"/>
                </a:cubicBezTo>
                <a:cubicBezTo>
                  <a:pt x="1673" y="170"/>
                  <a:pt x="1674" y="165"/>
                  <a:pt x="1674" y="160"/>
                </a:cubicBezTo>
                <a:cubicBezTo>
                  <a:pt x="1674" y="154"/>
                  <a:pt x="1673" y="149"/>
                  <a:pt x="1669" y="145"/>
                </a:cubicBezTo>
                <a:cubicBezTo>
                  <a:pt x="1666" y="142"/>
                  <a:pt x="1662" y="140"/>
                  <a:pt x="1656" y="140"/>
                </a:cubicBezTo>
                <a:cubicBezTo>
                  <a:pt x="1651" y="140"/>
                  <a:pt x="1647" y="142"/>
                  <a:pt x="1643" y="145"/>
                </a:cubicBezTo>
                <a:cubicBezTo>
                  <a:pt x="1640" y="149"/>
                  <a:pt x="1638" y="154"/>
                  <a:pt x="1638" y="160"/>
                </a:cubicBezTo>
                <a:cubicBezTo>
                  <a:pt x="1638" y="165"/>
                  <a:pt x="1640" y="170"/>
                  <a:pt x="1643" y="174"/>
                </a:cubicBezTo>
                <a:cubicBezTo>
                  <a:pt x="1647" y="177"/>
                  <a:pt x="1651" y="179"/>
                  <a:pt x="1656" y="179"/>
                </a:cubicBezTo>
                <a:moveTo>
                  <a:pt x="1648" y="207"/>
                </a:moveTo>
                <a:cubicBezTo>
                  <a:pt x="1642" y="207"/>
                  <a:pt x="1637" y="206"/>
                  <a:pt x="1632" y="203"/>
                </a:cubicBezTo>
                <a:cubicBezTo>
                  <a:pt x="1627" y="201"/>
                  <a:pt x="1622" y="198"/>
                  <a:pt x="1619" y="194"/>
                </a:cubicBezTo>
                <a:cubicBezTo>
                  <a:pt x="1615" y="189"/>
                  <a:pt x="1613" y="185"/>
                  <a:pt x="1611" y="179"/>
                </a:cubicBezTo>
                <a:cubicBezTo>
                  <a:pt x="1609" y="173"/>
                  <a:pt x="1608" y="167"/>
                  <a:pt x="1608" y="160"/>
                </a:cubicBezTo>
                <a:cubicBezTo>
                  <a:pt x="1608" y="153"/>
                  <a:pt x="1609" y="147"/>
                  <a:pt x="1611" y="141"/>
                </a:cubicBezTo>
                <a:cubicBezTo>
                  <a:pt x="1613" y="135"/>
                  <a:pt x="1616" y="130"/>
                  <a:pt x="1619" y="126"/>
                </a:cubicBezTo>
                <a:cubicBezTo>
                  <a:pt x="1623" y="122"/>
                  <a:pt x="1627" y="119"/>
                  <a:pt x="1633" y="116"/>
                </a:cubicBezTo>
                <a:cubicBezTo>
                  <a:pt x="1638" y="114"/>
                  <a:pt x="1643" y="113"/>
                  <a:pt x="1649" y="113"/>
                </a:cubicBezTo>
                <a:cubicBezTo>
                  <a:pt x="1654" y="113"/>
                  <a:pt x="1659" y="114"/>
                  <a:pt x="1663" y="116"/>
                </a:cubicBezTo>
                <a:cubicBezTo>
                  <a:pt x="1668" y="118"/>
                  <a:pt x="1671" y="122"/>
                  <a:pt x="1674" y="126"/>
                </a:cubicBezTo>
                <a:cubicBezTo>
                  <a:pt x="1674" y="115"/>
                  <a:pt x="1674" y="115"/>
                  <a:pt x="1674" y="115"/>
                </a:cubicBezTo>
                <a:cubicBezTo>
                  <a:pt x="1703" y="115"/>
                  <a:pt x="1703" y="115"/>
                  <a:pt x="1703" y="115"/>
                </a:cubicBezTo>
                <a:cubicBezTo>
                  <a:pt x="1703" y="204"/>
                  <a:pt x="1703" y="204"/>
                  <a:pt x="1703" y="204"/>
                </a:cubicBezTo>
                <a:cubicBezTo>
                  <a:pt x="1674" y="204"/>
                  <a:pt x="1674" y="204"/>
                  <a:pt x="1674" y="204"/>
                </a:cubicBezTo>
                <a:cubicBezTo>
                  <a:pt x="1674" y="194"/>
                  <a:pt x="1674" y="194"/>
                  <a:pt x="1674" y="194"/>
                </a:cubicBezTo>
                <a:cubicBezTo>
                  <a:pt x="1671" y="198"/>
                  <a:pt x="1668" y="201"/>
                  <a:pt x="1663" y="203"/>
                </a:cubicBezTo>
                <a:cubicBezTo>
                  <a:pt x="1659" y="206"/>
                  <a:pt x="1654" y="207"/>
                  <a:pt x="1648" y="207"/>
                </a:cubicBezTo>
                <a:moveTo>
                  <a:pt x="1549" y="179"/>
                </a:moveTo>
                <a:cubicBezTo>
                  <a:pt x="1554" y="179"/>
                  <a:pt x="1559" y="177"/>
                  <a:pt x="1562" y="174"/>
                </a:cubicBezTo>
                <a:cubicBezTo>
                  <a:pt x="1565" y="170"/>
                  <a:pt x="1567" y="165"/>
                  <a:pt x="1567" y="160"/>
                </a:cubicBezTo>
                <a:cubicBezTo>
                  <a:pt x="1567" y="154"/>
                  <a:pt x="1565" y="149"/>
                  <a:pt x="1562" y="145"/>
                </a:cubicBezTo>
                <a:cubicBezTo>
                  <a:pt x="1559" y="142"/>
                  <a:pt x="1554" y="140"/>
                  <a:pt x="1549" y="140"/>
                </a:cubicBezTo>
                <a:cubicBezTo>
                  <a:pt x="1544" y="140"/>
                  <a:pt x="1540" y="142"/>
                  <a:pt x="1536" y="145"/>
                </a:cubicBezTo>
                <a:cubicBezTo>
                  <a:pt x="1533" y="149"/>
                  <a:pt x="1531" y="154"/>
                  <a:pt x="1531" y="160"/>
                </a:cubicBezTo>
                <a:cubicBezTo>
                  <a:pt x="1531" y="165"/>
                  <a:pt x="1533" y="170"/>
                  <a:pt x="1536" y="174"/>
                </a:cubicBezTo>
                <a:cubicBezTo>
                  <a:pt x="1540" y="177"/>
                  <a:pt x="1544" y="179"/>
                  <a:pt x="1549" y="179"/>
                </a:cubicBezTo>
                <a:moveTo>
                  <a:pt x="1502" y="115"/>
                </a:moveTo>
                <a:cubicBezTo>
                  <a:pt x="1531" y="115"/>
                  <a:pt x="1531" y="115"/>
                  <a:pt x="1531" y="115"/>
                </a:cubicBezTo>
                <a:cubicBezTo>
                  <a:pt x="1531" y="125"/>
                  <a:pt x="1531" y="125"/>
                  <a:pt x="1531" y="125"/>
                </a:cubicBezTo>
                <a:cubicBezTo>
                  <a:pt x="1534" y="121"/>
                  <a:pt x="1538" y="118"/>
                  <a:pt x="1542" y="116"/>
                </a:cubicBezTo>
                <a:cubicBezTo>
                  <a:pt x="1547" y="114"/>
                  <a:pt x="1552" y="113"/>
                  <a:pt x="1558" y="113"/>
                </a:cubicBezTo>
                <a:cubicBezTo>
                  <a:pt x="1563" y="113"/>
                  <a:pt x="1569" y="114"/>
                  <a:pt x="1574" y="116"/>
                </a:cubicBezTo>
                <a:cubicBezTo>
                  <a:pt x="1579" y="118"/>
                  <a:pt x="1583" y="122"/>
                  <a:pt x="1587" y="126"/>
                </a:cubicBezTo>
                <a:cubicBezTo>
                  <a:pt x="1590" y="130"/>
                  <a:pt x="1593" y="135"/>
                  <a:pt x="1595" y="140"/>
                </a:cubicBezTo>
                <a:cubicBezTo>
                  <a:pt x="1597" y="146"/>
                  <a:pt x="1598" y="152"/>
                  <a:pt x="1598" y="159"/>
                </a:cubicBezTo>
                <a:cubicBezTo>
                  <a:pt x="1598" y="166"/>
                  <a:pt x="1597" y="172"/>
                  <a:pt x="1595" y="178"/>
                </a:cubicBezTo>
                <a:cubicBezTo>
                  <a:pt x="1593" y="184"/>
                  <a:pt x="1590" y="189"/>
                  <a:pt x="1586" y="193"/>
                </a:cubicBezTo>
                <a:cubicBezTo>
                  <a:pt x="1582" y="197"/>
                  <a:pt x="1578" y="201"/>
                  <a:pt x="1573" y="203"/>
                </a:cubicBezTo>
                <a:cubicBezTo>
                  <a:pt x="1568" y="205"/>
                  <a:pt x="1563" y="207"/>
                  <a:pt x="1557" y="207"/>
                </a:cubicBezTo>
                <a:cubicBezTo>
                  <a:pt x="1552" y="207"/>
                  <a:pt x="1547" y="206"/>
                  <a:pt x="1543" y="204"/>
                </a:cubicBezTo>
                <a:cubicBezTo>
                  <a:pt x="1539" y="202"/>
                  <a:pt x="1536" y="199"/>
                  <a:pt x="1533" y="196"/>
                </a:cubicBezTo>
                <a:cubicBezTo>
                  <a:pt x="1533" y="243"/>
                  <a:pt x="1533" y="243"/>
                  <a:pt x="1533" y="243"/>
                </a:cubicBezTo>
                <a:cubicBezTo>
                  <a:pt x="1502" y="243"/>
                  <a:pt x="1502" y="243"/>
                  <a:pt x="1502" y="243"/>
                </a:cubicBezTo>
                <a:lnTo>
                  <a:pt x="1502" y="115"/>
                </a:lnTo>
                <a:close/>
                <a:moveTo>
                  <a:pt x="1455" y="135"/>
                </a:moveTo>
                <a:cubicBezTo>
                  <a:pt x="1449" y="135"/>
                  <a:pt x="1445" y="137"/>
                  <a:pt x="1445" y="140"/>
                </a:cubicBezTo>
                <a:cubicBezTo>
                  <a:pt x="1445" y="142"/>
                  <a:pt x="1446" y="144"/>
                  <a:pt x="1448" y="145"/>
                </a:cubicBezTo>
                <a:cubicBezTo>
                  <a:pt x="1450" y="146"/>
                  <a:pt x="1454" y="147"/>
                  <a:pt x="1459" y="148"/>
                </a:cubicBezTo>
                <a:cubicBezTo>
                  <a:pt x="1469" y="151"/>
                  <a:pt x="1477" y="154"/>
                  <a:pt x="1482" y="159"/>
                </a:cubicBezTo>
                <a:cubicBezTo>
                  <a:pt x="1487" y="164"/>
                  <a:pt x="1489" y="170"/>
                  <a:pt x="1489" y="179"/>
                </a:cubicBezTo>
                <a:cubicBezTo>
                  <a:pt x="1489" y="187"/>
                  <a:pt x="1486" y="194"/>
                  <a:pt x="1479" y="199"/>
                </a:cubicBezTo>
                <a:cubicBezTo>
                  <a:pt x="1472" y="204"/>
                  <a:pt x="1462" y="207"/>
                  <a:pt x="1449" y="207"/>
                </a:cubicBezTo>
                <a:cubicBezTo>
                  <a:pt x="1442" y="207"/>
                  <a:pt x="1436" y="206"/>
                  <a:pt x="1429" y="204"/>
                </a:cubicBezTo>
                <a:cubicBezTo>
                  <a:pt x="1423" y="203"/>
                  <a:pt x="1418" y="201"/>
                  <a:pt x="1414" y="198"/>
                </a:cubicBezTo>
                <a:cubicBezTo>
                  <a:pt x="1424" y="180"/>
                  <a:pt x="1424" y="180"/>
                  <a:pt x="1424" y="180"/>
                </a:cubicBezTo>
                <a:cubicBezTo>
                  <a:pt x="1427" y="181"/>
                  <a:pt x="1431" y="182"/>
                  <a:pt x="1436" y="183"/>
                </a:cubicBezTo>
                <a:cubicBezTo>
                  <a:pt x="1440" y="184"/>
                  <a:pt x="1444" y="184"/>
                  <a:pt x="1447" y="184"/>
                </a:cubicBezTo>
                <a:cubicBezTo>
                  <a:pt x="1455" y="184"/>
                  <a:pt x="1458" y="182"/>
                  <a:pt x="1458" y="179"/>
                </a:cubicBezTo>
                <a:cubicBezTo>
                  <a:pt x="1458" y="178"/>
                  <a:pt x="1458" y="177"/>
                  <a:pt x="1458" y="176"/>
                </a:cubicBezTo>
                <a:cubicBezTo>
                  <a:pt x="1458" y="176"/>
                  <a:pt x="1457" y="175"/>
                  <a:pt x="1456" y="175"/>
                </a:cubicBezTo>
                <a:cubicBezTo>
                  <a:pt x="1455" y="174"/>
                  <a:pt x="1454" y="173"/>
                  <a:pt x="1452" y="173"/>
                </a:cubicBezTo>
                <a:cubicBezTo>
                  <a:pt x="1450" y="172"/>
                  <a:pt x="1448" y="172"/>
                  <a:pt x="1445" y="171"/>
                </a:cubicBezTo>
                <a:cubicBezTo>
                  <a:pt x="1440" y="170"/>
                  <a:pt x="1435" y="168"/>
                  <a:pt x="1432" y="166"/>
                </a:cubicBezTo>
                <a:cubicBezTo>
                  <a:pt x="1428" y="164"/>
                  <a:pt x="1425" y="162"/>
                  <a:pt x="1422" y="160"/>
                </a:cubicBezTo>
                <a:cubicBezTo>
                  <a:pt x="1420" y="157"/>
                  <a:pt x="1418" y="155"/>
                  <a:pt x="1417" y="152"/>
                </a:cubicBezTo>
                <a:cubicBezTo>
                  <a:pt x="1416" y="148"/>
                  <a:pt x="1415" y="145"/>
                  <a:pt x="1415" y="141"/>
                </a:cubicBezTo>
                <a:cubicBezTo>
                  <a:pt x="1415" y="132"/>
                  <a:pt x="1418" y="125"/>
                  <a:pt x="1425" y="120"/>
                </a:cubicBezTo>
                <a:cubicBezTo>
                  <a:pt x="1432" y="115"/>
                  <a:pt x="1441" y="113"/>
                  <a:pt x="1453" y="113"/>
                </a:cubicBezTo>
                <a:cubicBezTo>
                  <a:pt x="1459" y="113"/>
                  <a:pt x="1465" y="113"/>
                  <a:pt x="1471" y="115"/>
                </a:cubicBezTo>
                <a:cubicBezTo>
                  <a:pt x="1476" y="116"/>
                  <a:pt x="1481" y="117"/>
                  <a:pt x="1485" y="120"/>
                </a:cubicBezTo>
                <a:cubicBezTo>
                  <a:pt x="1482" y="142"/>
                  <a:pt x="1482" y="142"/>
                  <a:pt x="1482" y="142"/>
                </a:cubicBezTo>
                <a:cubicBezTo>
                  <a:pt x="1478" y="140"/>
                  <a:pt x="1473" y="138"/>
                  <a:pt x="1468" y="137"/>
                </a:cubicBezTo>
                <a:cubicBezTo>
                  <a:pt x="1464" y="136"/>
                  <a:pt x="1459" y="135"/>
                  <a:pt x="1455" y="135"/>
                </a:cubicBezTo>
                <a:moveTo>
                  <a:pt x="1356" y="181"/>
                </a:moveTo>
                <a:cubicBezTo>
                  <a:pt x="1362" y="181"/>
                  <a:pt x="1366" y="179"/>
                  <a:pt x="1370" y="175"/>
                </a:cubicBezTo>
                <a:cubicBezTo>
                  <a:pt x="1373" y="171"/>
                  <a:pt x="1375" y="166"/>
                  <a:pt x="1375" y="160"/>
                </a:cubicBezTo>
                <a:cubicBezTo>
                  <a:pt x="1375" y="153"/>
                  <a:pt x="1373" y="148"/>
                  <a:pt x="1370" y="144"/>
                </a:cubicBezTo>
                <a:cubicBezTo>
                  <a:pt x="1366" y="140"/>
                  <a:pt x="1362" y="139"/>
                  <a:pt x="1356" y="139"/>
                </a:cubicBezTo>
                <a:cubicBezTo>
                  <a:pt x="1350" y="139"/>
                  <a:pt x="1345" y="140"/>
                  <a:pt x="1342" y="144"/>
                </a:cubicBezTo>
                <a:cubicBezTo>
                  <a:pt x="1338" y="148"/>
                  <a:pt x="1337" y="153"/>
                  <a:pt x="1337" y="160"/>
                </a:cubicBezTo>
                <a:cubicBezTo>
                  <a:pt x="1337" y="166"/>
                  <a:pt x="1338" y="171"/>
                  <a:pt x="1342" y="175"/>
                </a:cubicBezTo>
                <a:cubicBezTo>
                  <a:pt x="1345" y="179"/>
                  <a:pt x="1350" y="181"/>
                  <a:pt x="1356" y="181"/>
                </a:cubicBezTo>
                <a:moveTo>
                  <a:pt x="1356" y="207"/>
                </a:moveTo>
                <a:cubicBezTo>
                  <a:pt x="1349" y="207"/>
                  <a:pt x="1342" y="205"/>
                  <a:pt x="1336" y="203"/>
                </a:cubicBezTo>
                <a:cubicBezTo>
                  <a:pt x="1330" y="201"/>
                  <a:pt x="1325" y="198"/>
                  <a:pt x="1321" y="193"/>
                </a:cubicBezTo>
                <a:cubicBezTo>
                  <a:pt x="1317" y="189"/>
                  <a:pt x="1313" y="184"/>
                  <a:pt x="1311" y="178"/>
                </a:cubicBezTo>
                <a:cubicBezTo>
                  <a:pt x="1308" y="173"/>
                  <a:pt x="1307" y="166"/>
                  <a:pt x="1307" y="160"/>
                </a:cubicBezTo>
                <a:cubicBezTo>
                  <a:pt x="1307" y="153"/>
                  <a:pt x="1308" y="147"/>
                  <a:pt x="1311" y="141"/>
                </a:cubicBezTo>
                <a:cubicBezTo>
                  <a:pt x="1313" y="135"/>
                  <a:pt x="1317" y="130"/>
                  <a:pt x="1321" y="126"/>
                </a:cubicBezTo>
                <a:cubicBezTo>
                  <a:pt x="1325" y="122"/>
                  <a:pt x="1331" y="118"/>
                  <a:pt x="1337" y="116"/>
                </a:cubicBezTo>
                <a:cubicBezTo>
                  <a:pt x="1342" y="114"/>
                  <a:pt x="1349" y="113"/>
                  <a:pt x="1356" y="113"/>
                </a:cubicBezTo>
                <a:cubicBezTo>
                  <a:pt x="1363" y="113"/>
                  <a:pt x="1369" y="114"/>
                  <a:pt x="1375" y="116"/>
                </a:cubicBezTo>
                <a:cubicBezTo>
                  <a:pt x="1381" y="118"/>
                  <a:pt x="1386" y="122"/>
                  <a:pt x="1391" y="126"/>
                </a:cubicBezTo>
                <a:cubicBezTo>
                  <a:pt x="1395" y="130"/>
                  <a:pt x="1398" y="135"/>
                  <a:pt x="1401" y="141"/>
                </a:cubicBezTo>
                <a:cubicBezTo>
                  <a:pt x="1403" y="147"/>
                  <a:pt x="1404" y="153"/>
                  <a:pt x="1404" y="160"/>
                </a:cubicBezTo>
                <a:cubicBezTo>
                  <a:pt x="1404" y="166"/>
                  <a:pt x="1403" y="173"/>
                  <a:pt x="1401" y="178"/>
                </a:cubicBezTo>
                <a:cubicBezTo>
                  <a:pt x="1398" y="184"/>
                  <a:pt x="1395" y="189"/>
                  <a:pt x="1391" y="193"/>
                </a:cubicBezTo>
                <a:cubicBezTo>
                  <a:pt x="1386" y="197"/>
                  <a:pt x="1381" y="201"/>
                  <a:pt x="1375" y="203"/>
                </a:cubicBezTo>
                <a:cubicBezTo>
                  <a:pt x="1369" y="205"/>
                  <a:pt x="1363" y="207"/>
                  <a:pt x="1356" y="207"/>
                </a:cubicBezTo>
                <a:moveTo>
                  <a:pt x="1239" y="115"/>
                </a:moveTo>
                <a:cubicBezTo>
                  <a:pt x="1269" y="115"/>
                  <a:pt x="1269" y="115"/>
                  <a:pt x="1269" y="115"/>
                </a:cubicBezTo>
                <a:cubicBezTo>
                  <a:pt x="1269" y="129"/>
                  <a:pt x="1269" y="129"/>
                  <a:pt x="1269" y="129"/>
                </a:cubicBezTo>
                <a:cubicBezTo>
                  <a:pt x="1271" y="124"/>
                  <a:pt x="1274" y="120"/>
                  <a:pt x="1278" y="118"/>
                </a:cubicBezTo>
                <a:cubicBezTo>
                  <a:pt x="1282" y="115"/>
                  <a:pt x="1286" y="114"/>
                  <a:pt x="1291" y="114"/>
                </a:cubicBezTo>
                <a:cubicBezTo>
                  <a:pt x="1295" y="114"/>
                  <a:pt x="1299" y="114"/>
                  <a:pt x="1301" y="116"/>
                </a:cubicBezTo>
                <a:cubicBezTo>
                  <a:pt x="1299" y="145"/>
                  <a:pt x="1299" y="145"/>
                  <a:pt x="1299" y="145"/>
                </a:cubicBezTo>
                <a:cubicBezTo>
                  <a:pt x="1297" y="144"/>
                  <a:pt x="1296" y="143"/>
                  <a:pt x="1293" y="143"/>
                </a:cubicBezTo>
                <a:cubicBezTo>
                  <a:pt x="1291" y="143"/>
                  <a:pt x="1289" y="142"/>
                  <a:pt x="1288" y="142"/>
                </a:cubicBezTo>
                <a:cubicBezTo>
                  <a:pt x="1276" y="142"/>
                  <a:pt x="1270" y="150"/>
                  <a:pt x="1270" y="166"/>
                </a:cubicBezTo>
                <a:cubicBezTo>
                  <a:pt x="1270" y="204"/>
                  <a:pt x="1270" y="204"/>
                  <a:pt x="1270" y="204"/>
                </a:cubicBezTo>
                <a:cubicBezTo>
                  <a:pt x="1239" y="204"/>
                  <a:pt x="1239" y="204"/>
                  <a:pt x="1239" y="204"/>
                </a:cubicBezTo>
                <a:lnTo>
                  <a:pt x="1239" y="115"/>
                </a:lnTo>
                <a:close/>
                <a:moveTo>
                  <a:pt x="1195" y="150"/>
                </a:moveTo>
                <a:cubicBezTo>
                  <a:pt x="1195" y="145"/>
                  <a:pt x="1193" y="142"/>
                  <a:pt x="1191" y="139"/>
                </a:cubicBezTo>
                <a:cubicBezTo>
                  <a:pt x="1188" y="136"/>
                  <a:pt x="1184" y="135"/>
                  <a:pt x="1180" y="135"/>
                </a:cubicBezTo>
                <a:cubicBezTo>
                  <a:pt x="1172" y="135"/>
                  <a:pt x="1166" y="140"/>
                  <a:pt x="1164" y="150"/>
                </a:cubicBezTo>
                <a:lnTo>
                  <a:pt x="1195" y="150"/>
                </a:lnTo>
                <a:close/>
                <a:moveTo>
                  <a:pt x="1224" y="197"/>
                </a:moveTo>
                <a:cubicBezTo>
                  <a:pt x="1219" y="200"/>
                  <a:pt x="1214" y="203"/>
                  <a:pt x="1208" y="204"/>
                </a:cubicBezTo>
                <a:cubicBezTo>
                  <a:pt x="1201" y="206"/>
                  <a:pt x="1195" y="207"/>
                  <a:pt x="1188" y="207"/>
                </a:cubicBezTo>
                <a:cubicBezTo>
                  <a:pt x="1180" y="207"/>
                  <a:pt x="1172" y="206"/>
                  <a:pt x="1166" y="203"/>
                </a:cubicBezTo>
                <a:cubicBezTo>
                  <a:pt x="1159" y="201"/>
                  <a:pt x="1153" y="198"/>
                  <a:pt x="1149" y="194"/>
                </a:cubicBezTo>
                <a:cubicBezTo>
                  <a:pt x="1144" y="190"/>
                  <a:pt x="1141" y="185"/>
                  <a:pt x="1138" y="179"/>
                </a:cubicBezTo>
                <a:cubicBezTo>
                  <a:pt x="1136" y="173"/>
                  <a:pt x="1134" y="167"/>
                  <a:pt x="1134" y="160"/>
                </a:cubicBezTo>
                <a:cubicBezTo>
                  <a:pt x="1134" y="153"/>
                  <a:pt x="1136" y="146"/>
                  <a:pt x="1138" y="141"/>
                </a:cubicBezTo>
                <a:cubicBezTo>
                  <a:pt x="1140" y="135"/>
                  <a:pt x="1143" y="130"/>
                  <a:pt x="1147" y="126"/>
                </a:cubicBezTo>
                <a:cubicBezTo>
                  <a:pt x="1151" y="122"/>
                  <a:pt x="1156" y="118"/>
                  <a:pt x="1162" y="116"/>
                </a:cubicBezTo>
                <a:cubicBezTo>
                  <a:pt x="1168" y="114"/>
                  <a:pt x="1174" y="113"/>
                  <a:pt x="1181" y="113"/>
                </a:cubicBezTo>
                <a:cubicBezTo>
                  <a:pt x="1187" y="113"/>
                  <a:pt x="1193" y="114"/>
                  <a:pt x="1199" y="116"/>
                </a:cubicBezTo>
                <a:cubicBezTo>
                  <a:pt x="1204" y="118"/>
                  <a:pt x="1209" y="121"/>
                  <a:pt x="1212" y="125"/>
                </a:cubicBezTo>
                <a:cubicBezTo>
                  <a:pt x="1216" y="128"/>
                  <a:pt x="1219" y="133"/>
                  <a:pt x="1221" y="138"/>
                </a:cubicBezTo>
                <a:cubicBezTo>
                  <a:pt x="1223" y="144"/>
                  <a:pt x="1224" y="150"/>
                  <a:pt x="1224" y="157"/>
                </a:cubicBezTo>
                <a:cubicBezTo>
                  <a:pt x="1224" y="161"/>
                  <a:pt x="1224" y="165"/>
                  <a:pt x="1223" y="168"/>
                </a:cubicBezTo>
                <a:cubicBezTo>
                  <a:pt x="1165" y="168"/>
                  <a:pt x="1165" y="168"/>
                  <a:pt x="1165" y="168"/>
                </a:cubicBezTo>
                <a:cubicBezTo>
                  <a:pt x="1168" y="178"/>
                  <a:pt x="1176" y="183"/>
                  <a:pt x="1191" y="183"/>
                </a:cubicBezTo>
                <a:cubicBezTo>
                  <a:pt x="1194" y="183"/>
                  <a:pt x="1198" y="182"/>
                  <a:pt x="1203" y="181"/>
                </a:cubicBezTo>
                <a:cubicBezTo>
                  <a:pt x="1207" y="180"/>
                  <a:pt x="1211" y="179"/>
                  <a:pt x="1214" y="178"/>
                </a:cubicBezTo>
                <a:lnTo>
                  <a:pt x="1224" y="197"/>
                </a:lnTo>
                <a:close/>
                <a:moveTo>
                  <a:pt x="1077" y="148"/>
                </a:moveTo>
                <a:cubicBezTo>
                  <a:pt x="1062" y="103"/>
                  <a:pt x="1062" y="103"/>
                  <a:pt x="1062" y="103"/>
                </a:cubicBezTo>
                <a:cubicBezTo>
                  <a:pt x="1047" y="148"/>
                  <a:pt x="1047" y="148"/>
                  <a:pt x="1047" y="148"/>
                </a:cubicBezTo>
                <a:lnTo>
                  <a:pt x="1077" y="148"/>
                </a:lnTo>
                <a:close/>
                <a:moveTo>
                  <a:pt x="1046" y="73"/>
                </a:moveTo>
                <a:cubicBezTo>
                  <a:pt x="1081" y="73"/>
                  <a:pt x="1081" y="73"/>
                  <a:pt x="1081" y="73"/>
                </a:cubicBezTo>
                <a:cubicBezTo>
                  <a:pt x="1133" y="204"/>
                  <a:pt x="1133" y="204"/>
                  <a:pt x="1133" y="204"/>
                </a:cubicBezTo>
                <a:cubicBezTo>
                  <a:pt x="1096" y="204"/>
                  <a:pt x="1096" y="204"/>
                  <a:pt x="1096" y="204"/>
                </a:cubicBezTo>
                <a:cubicBezTo>
                  <a:pt x="1086" y="174"/>
                  <a:pt x="1086" y="174"/>
                  <a:pt x="1086" y="174"/>
                </a:cubicBezTo>
                <a:cubicBezTo>
                  <a:pt x="1039" y="174"/>
                  <a:pt x="1039" y="174"/>
                  <a:pt x="1039" y="174"/>
                </a:cubicBezTo>
                <a:cubicBezTo>
                  <a:pt x="1029" y="204"/>
                  <a:pt x="1029" y="204"/>
                  <a:pt x="1029" y="204"/>
                </a:cubicBezTo>
                <a:cubicBezTo>
                  <a:pt x="995" y="204"/>
                  <a:pt x="995" y="204"/>
                  <a:pt x="995" y="204"/>
                </a:cubicBezTo>
                <a:lnTo>
                  <a:pt x="1046" y="73"/>
                </a:lnTo>
                <a:close/>
                <a:moveTo>
                  <a:pt x="921" y="135"/>
                </a:moveTo>
                <a:cubicBezTo>
                  <a:pt x="914" y="135"/>
                  <a:pt x="911" y="137"/>
                  <a:pt x="911" y="140"/>
                </a:cubicBezTo>
                <a:cubicBezTo>
                  <a:pt x="911" y="142"/>
                  <a:pt x="912" y="144"/>
                  <a:pt x="914" y="145"/>
                </a:cubicBezTo>
                <a:cubicBezTo>
                  <a:pt x="916" y="146"/>
                  <a:pt x="919" y="147"/>
                  <a:pt x="924" y="148"/>
                </a:cubicBezTo>
                <a:cubicBezTo>
                  <a:pt x="935" y="151"/>
                  <a:pt x="943" y="154"/>
                  <a:pt x="948" y="159"/>
                </a:cubicBezTo>
                <a:cubicBezTo>
                  <a:pt x="952" y="164"/>
                  <a:pt x="955" y="170"/>
                  <a:pt x="955" y="179"/>
                </a:cubicBezTo>
                <a:cubicBezTo>
                  <a:pt x="955" y="187"/>
                  <a:pt x="951" y="194"/>
                  <a:pt x="944" y="199"/>
                </a:cubicBezTo>
                <a:cubicBezTo>
                  <a:pt x="937" y="204"/>
                  <a:pt x="928" y="207"/>
                  <a:pt x="915" y="207"/>
                </a:cubicBezTo>
                <a:cubicBezTo>
                  <a:pt x="908" y="207"/>
                  <a:pt x="901" y="206"/>
                  <a:pt x="895" y="204"/>
                </a:cubicBezTo>
                <a:cubicBezTo>
                  <a:pt x="888" y="203"/>
                  <a:pt x="883" y="201"/>
                  <a:pt x="880" y="198"/>
                </a:cubicBezTo>
                <a:cubicBezTo>
                  <a:pt x="890" y="180"/>
                  <a:pt x="890" y="180"/>
                  <a:pt x="890" y="180"/>
                </a:cubicBezTo>
                <a:cubicBezTo>
                  <a:pt x="893" y="181"/>
                  <a:pt x="897" y="182"/>
                  <a:pt x="901" y="183"/>
                </a:cubicBezTo>
                <a:cubicBezTo>
                  <a:pt x="905" y="184"/>
                  <a:pt x="909" y="184"/>
                  <a:pt x="913" y="184"/>
                </a:cubicBezTo>
                <a:cubicBezTo>
                  <a:pt x="920" y="184"/>
                  <a:pt x="924" y="182"/>
                  <a:pt x="924" y="179"/>
                </a:cubicBezTo>
                <a:cubicBezTo>
                  <a:pt x="924" y="178"/>
                  <a:pt x="924" y="177"/>
                  <a:pt x="924" y="176"/>
                </a:cubicBezTo>
                <a:cubicBezTo>
                  <a:pt x="923" y="176"/>
                  <a:pt x="923" y="175"/>
                  <a:pt x="922" y="175"/>
                </a:cubicBezTo>
                <a:cubicBezTo>
                  <a:pt x="921" y="174"/>
                  <a:pt x="919" y="173"/>
                  <a:pt x="918" y="173"/>
                </a:cubicBezTo>
                <a:cubicBezTo>
                  <a:pt x="916" y="172"/>
                  <a:pt x="914" y="172"/>
                  <a:pt x="911" y="171"/>
                </a:cubicBezTo>
                <a:cubicBezTo>
                  <a:pt x="906" y="170"/>
                  <a:pt x="901" y="168"/>
                  <a:pt x="897" y="166"/>
                </a:cubicBezTo>
                <a:cubicBezTo>
                  <a:pt x="893" y="164"/>
                  <a:pt x="890" y="162"/>
                  <a:pt x="888" y="160"/>
                </a:cubicBezTo>
                <a:cubicBezTo>
                  <a:pt x="885" y="157"/>
                  <a:pt x="884" y="155"/>
                  <a:pt x="883" y="152"/>
                </a:cubicBezTo>
                <a:cubicBezTo>
                  <a:pt x="881" y="148"/>
                  <a:pt x="881" y="145"/>
                  <a:pt x="881" y="141"/>
                </a:cubicBezTo>
                <a:cubicBezTo>
                  <a:pt x="881" y="132"/>
                  <a:pt x="884" y="125"/>
                  <a:pt x="891" y="120"/>
                </a:cubicBezTo>
                <a:cubicBezTo>
                  <a:pt x="898" y="115"/>
                  <a:pt x="907" y="113"/>
                  <a:pt x="919" y="113"/>
                </a:cubicBezTo>
                <a:cubicBezTo>
                  <a:pt x="925" y="113"/>
                  <a:pt x="931" y="113"/>
                  <a:pt x="936" y="115"/>
                </a:cubicBezTo>
                <a:cubicBezTo>
                  <a:pt x="942" y="116"/>
                  <a:pt x="947" y="117"/>
                  <a:pt x="951" y="120"/>
                </a:cubicBezTo>
                <a:cubicBezTo>
                  <a:pt x="948" y="142"/>
                  <a:pt x="948" y="142"/>
                  <a:pt x="948" y="142"/>
                </a:cubicBezTo>
                <a:cubicBezTo>
                  <a:pt x="943" y="140"/>
                  <a:pt x="939" y="138"/>
                  <a:pt x="934" y="137"/>
                </a:cubicBezTo>
                <a:cubicBezTo>
                  <a:pt x="929" y="136"/>
                  <a:pt x="925" y="135"/>
                  <a:pt x="921" y="135"/>
                </a:cubicBezTo>
                <a:moveTo>
                  <a:pt x="780" y="115"/>
                </a:moveTo>
                <a:cubicBezTo>
                  <a:pt x="810" y="115"/>
                  <a:pt x="810" y="115"/>
                  <a:pt x="810" y="115"/>
                </a:cubicBezTo>
                <a:cubicBezTo>
                  <a:pt x="810" y="126"/>
                  <a:pt x="810" y="126"/>
                  <a:pt x="810" y="126"/>
                </a:cubicBezTo>
                <a:cubicBezTo>
                  <a:pt x="812" y="122"/>
                  <a:pt x="816" y="119"/>
                  <a:pt x="820" y="116"/>
                </a:cubicBezTo>
                <a:cubicBezTo>
                  <a:pt x="825" y="114"/>
                  <a:pt x="830" y="113"/>
                  <a:pt x="836" y="113"/>
                </a:cubicBezTo>
                <a:cubicBezTo>
                  <a:pt x="846" y="113"/>
                  <a:pt x="853" y="116"/>
                  <a:pt x="859" y="122"/>
                </a:cubicBezTo>
                <a:cubicBezTo>
                  <a:pt x="864" y="128"/>
                  <a:pt x="866" y="138"/>
                  <a:pt x="866" y="150"/>
                </a:cubicBezTo>
                <a:cubicBezTo>
                  <a:pt x="866" y="204"/>
                  <a:pt x="866" y="204"/>
                  <a:pt x="866" y="204"/>
                </a:cubicBezTo>
                <a:cubicBezTo>
                  <a:pt x="836" y="204"/>
                  <a:pt x="836" y="204"/>
                  <a:pt x="836" y="204"/>
                </a:cubicBezTo>
                <a:cubicBezTo>
                  <a:pt x="836" y="156"/>
                  <a:pt x="836" y="156"/>
                  <a:pt x="836" y="156"/>
                </a:cubicBezTo>
                <a:cubicBezTo>
                  <a:pt x="836" y="145"/>
                  <a:pt x="832" y="140"/>
                  <a:pt x="824" y="140"/>
                </a:cubicBezTo>
                <a:cubicBezTo>
                  <a:pt x="819" y="140"/>
                  <a:pt x="816" y="142"/>
                  <a:pt x="814" y="144"/>
                </a:cubicBezTo>
                <a:cubicBezTo>
                  <a:pt x="812" y="147"/>
                  <a:pt x="810" y="152"/>
                  <a:pt x="810" y="157"/>
                </a:cubicBezTo>
                <a:cubicBezTo>
                  <a:pt x="810" y="204"/>
                  <a:pt x="810" y="204"/>
                  <a:pt x="810" y="204"/>
                </a:cubicBezTo>
                <a:cubicBezTo>
                  <a:pt x="780" y="204"/>
                  <a:pt x="780" y="204"/>
                  <a:pt x="780" y="204"/>
                </a:cubicBezTo>
                <a:lnTo>
                  <a:pt x="780" y="115"/>
                </a:lnTo>
                <a:close/>
                <a:moveTo>
                  <a:pt x="729" y="115"/>
                </a:moveTo>
                <a:cubicBezTo>
                  <a:pt x="760" y="115"/>
                  <a:pt x="760" y="115"/>
                  <a:pt x="760" y="115"/>
                </a:cubicBezTo>
                <a:cubicBezTo>
                  <a:pt x="760" y="204"/>
                  <a:pt x="760" y="204"/>
                  <a:pt x="760" y="204"/>
                </a:cubicBezTo>
                <a:cubicBezTo>
                  <a:pt x="729" y="204"/>
                  <a:pt x="729" y="204"/>
                  <a:pt x="729" y="204"/>
                </a:cubicBezTo>
                <a:lnTo>
                  <a:pt x="729" y="115"/>
                </a:lnTo>
                <a:close/>
                <a:moveTo>
                  <a:pt x="744" y="101"/>
                </a:moveTo>
                <a:cubicBezTo>
                  <a:pt x="739" y="101"/>
                  <a:pt x="735" y="100"/>
                  <a:pt x="732" y="97"/>
                </a:cubicBezTo>
                <a:cubicBezTo>
                  <a:pt x="729" y="94"/>
                  <a:pt x="727" y="90"/>
                  <a:pt x="727" y="85"/>
                </a:cubicBezTo>
                <a:cubicBezTo>
                  <a:pt x="727" y="80"/>
                  <a:pt x="729" y="76"/>
                  <a:pt x="732" y="73"/>
                </a:cubicBezTo>
                <a:cubicBezTo>
                  <a:pt x="735" y="70"/>
                  <a:pt x="739" y="68"/>
                  <a:pt x="744" y="68"/>
                </a:cubicBezTo>
                <a:cubicBezTo>
                  <a:pt x="749" y="68"/>
                  <a:pt x="753" y="70"/>
                  <a:pt x="757" y="73"/>
                </a:cubicBezTo>
                <a:cubicBezTo>
                  <a:pt x="760" y="76"/>
                  <a:pt x="762" y="80"/>
                  <a:pt x="762" y="85"/>
                </a:cubicBezTo>
                <a:cubicBezTo>
                  <a:pt x="762" y="90"/>
                  <a:pt x="760" y="94"/>
                  <a:pt x="757" y="97"/>
                </a:cubicBezTo>
                <a:cubicBezTo>
                  <a:pt x="753" y="100"/>
                  <a:pt x="749" y="101"/>
                  <a:pt x="744" y="101"/>
                </a:cubicBezTo>
                <a:moveTo>
                  <a:pt x="676" y="73"/>
                </a:moveTo>
                <a:cubicBezTo>
                  <a:pt x="707" y="73"/>
                  <a:pt x="707" y="73"/>
                  <a:pt x="707" y="73"/>
                </a:cubicBezTo>
                <a:cubicBezTo>
                  <a:pt x="707" y="204"/>
                  <a:pt x="707" y="204"/>
                  <a:pt x="707" y="204"/>
                </a:cubicBezTo>
                <a:cubicBezTo>
                  <a:pt x="676" y="204"/>
                  <a:pt x="676" y="204"/>
                  <a:pt x="676" y="204"/>
                </a:cubicBezTo>
                <a:lnTo>
                  <a:pt x="676" y="73"/>
                </a:lnTo>
                <a:close/>
                <a:moveTo>
                  <a:pt x="625" y="73"/>
                </a:moveTo>
                <a:cubicBezTo>
                  <a:pt x="656" y="73"/>
                  <a:pt x="656" y="73"/>
                  <a:pt x="656" y="73"/>
                </a:cubicBezTo>
                <a:cubicBezTo>
                  <a:pt x="656" y="204"/>
                  <a:pt x="656" y="204"/>
                  <a:pt x="656" y="204"/>
                </a:cubicBezTo>
                <a:cubicBezTo>
                  <a:pt x="625" y="204"/>
                  <a:pt x="625" y="204"/>
                  <a:pt x="625" y="204"/>
                </a:cubicBezTo>
                <a:lnTo>
                  <a:pt x="625" y="73"/>
                </a:lnTo>
                <a:close/>
                <a:moveTo>
                  <a:pt x="564" y="181"/>
                </a:moveTo>
                <a:cubicBezTo>
                  <a:pt x="570" y="181"/>
                  <a:pt x="574" y="179"/>
                  <a:pt x="578" y="175"/>
                </a:cubicBezTo>
                <a:cubicBezTo>
                  <a:pt x="581" y="171"/>
                  <a:pt x="583" y="166"/>
                  <a:pt x="583" y="160"/>
                </a:cubicBezTo>
                <a:cubicBezTo>
                  <a:pt x="583" y="153"/>
                  <a:pt x="581" y="148"/>
                  <a:pt x="578" y="144"/>
                </a:cubicBezTo>
                <a:cubicBezTo>
                  <a:pt x="574" y="140"/>
                  <a:pt x="570" y="139"/>
                  <a:pt x="564" y="139"/>
                </a:cubicBezTo>
                <a:cubicBezTo>
                  <a:pt x="558" y="139"/>
                  <a:pt x="553" y="140"/>
                  <a:pt x="550" y="144"/>
                </a:cubicBezTo>
                <a:cubicBezTo>
                  <a:pt x="546" y="148"/>
                  <a:pt x="544" y="153"/>
                  <a:pt x="544" y="160"/>
                </a:cubicBezTo>
                <a:cubicBezTo>
                  <a:pt x="544" y="166"/>
                  <a:pt x="546" y="171"/>
                  <a:pt x="550" y="175"/>
                </a:cubicBezTo>
                <a:cubicBezTo>
                  <a:pt x="553" y="179"/>
                  <a:pt x="558" y="181"/>
                  <a:pt x="564" y="181"/>
                </a:cubicBezTo>
                <a:moveTo>
                  <a:pt x="564" y="207"/>
                </a:moveTo>
                <a:cubicBezTo>
                  <a:pt x="557" y="207"/>
                  <a:pt x="550" y="205"/>
                  <a:pt x="544" y="203"/>
                </a:cubicBezTo>
                <a:cubicBezTo>
                  <a:pt x="538" y="200"/>
                  <a:pt x="533" y="197"/>
                  <a:pt x="529" y="192"/>
                </a:cubicBezTo>
                <a:cubicBezTo>
                  <a:pt x="524" y="188"/>
                  <a:pt x="521" y="183"/>
                  <a:pt x="518" y="177"/>
                </a:cubicBezTo>
                <a:cubicBezTo>
                  <a:pt x="516" y="171"/>
                  <a:pt x="515" y="164"/>
                  <a:pt x="515" y="158"/>
                </a:cubicBezTo>
                <a:cubicBezTo>
                  <a:pt x="515" y="151"/>
                  <a:pt x="516" y="145"/>
                  <a:pt x="518" y="139"/>
                </a:cubicBezTo>
                <a:cubicBezTo>
                  <a:pt x="521" y="134"/>
                  <a:pt x="524" y="129"/>
                  <a:pt x="529" y="125"/>
                </a:cubicBezTo>
                <a:cubicBezTo>
                  <a:pt x="533" y="121"/>
                  <a:pt x="538" y="118"/>
                  <a:pt x="544" y="116"/>
                </a:cubicBezTo>
                <a:cubicBezTo>
                  <a:pt x="550" y="114"/>
                  <a:pt x="557" y="113"/>
                  <a:pt x="564" y="113"/>
                </a:cubicBezTo>
                <a:cubicBezTo>
                  <a:pt x="571" y="113"/>
                  <a:pt x="577" y="114"/>
                  <a:pt x="583" y="116"/>
                </a:cubicBezTo>
                <a:cubicBezTo>
                  <a:pt x="589" y="118"/>
                  <a:pt x="594" y="122"/>
                  <a:pt x="599" y="126"/>
                </a:cubicBezTo>
                <a:cubicBezTo>
                  <a:pt x="603" y="130"/>
                  <a:pt x="606" y="135"/>
                  <a:pt x="609" y="141"/>
                </a:cubicBezTo>
                <a:cubicBezTo>
                  <a:pt x="611" y="147"/>
                  <a:pt x="612" y="153"/>
                  <a:pt x="612" y="160"/>
                </a:cubicBezTo>
                <a:cubicBezTo>
                  <a:pt x="612" y="166"/>
                  <a:pt x="611" y="173"/>
                  <a:pt x="609" y="178"/>
                </a:cubicBezTo>
                <a:cubicBezTo>
                  <a:pt x="606" y="184"/>
                  <a:pt x="603" y="189"/>
                  <a:pt x="599" y="193"/>
                </a:cubicBezTo>
                <a:cubicBezTo>
                  <a:pt x="594" y="197"/>
                  <a:pt x="589" y="201"/>
                  <a:pt x="583" y="203"/>
                </a:cubicBezTo>
                <a:cubicBezTo>
                  <a:pt x="577" y="205"/>
                  <a:pt x="571" y="207"/>
                  <a:pt x="564" y="207"/>
                </a:cubicBezTo>
                <a:moveTo>
                  <a:pt x="507" y="192"/>
                </a:moveTo>
                <a:cubicBezTo>
                  <a:pt x="501" y="196"/>
                  <a:pt x="494" y="200"/>
                  <a:pt x="486" y="202"/>
                </a:cubicBezTo>
                <a:cubicBezTo>
                  <a:pt x="478" y="205"/>
                  <a:pt x="469" y="206"/>
                  <a:pt x="460" y="206"/>
                </a:cubicBezTo>
                <a:cubicBezTo>
                  <a:pt x="450" y="206"/>
                  <a:pt x="440" y="204"/>
                  <a:pt x="432" y="201"/>
                </a:cubicBezTo>
                <a:cubicBezTo>
                  <a:pt x="424" y="198"/>
                  <a:pt x="417" y="194"/>
                  <a:pt x="411" y="188"/>
                </a:cubicBezTo>
                <a:cubicBezTo>
                  <a:pt x="405" y="183"/>
                  <a:pt x="401" y="176"/>
                  <a:pt x="398" y="167"/>
                </a:cubicBezTo>
                <a:cubicBezTo>
                  <a:pt x="394" y="159"/>
                  <a:pt x="393" y="150"/>
                  <a:pt x="393" y="139"/>
                </a:cubicBezTo>
                <a:cubicBezTo>
                  <a:pt x="393" y="129"/>
                  <a:pt x="395" y="120"/>
                  <a:pt x="398" y="112"/>
                </a:cubicBezTo>
                <a:cubicBezTo>
                  <a:pt x="402" y="104"/>
                  <a:pt x="406" y="96"/>
                  <a:pt x="413" y="90"/>
                </a:cubicBezTo>
                <a:cubicBezTo>
                  <a:pt x="419" y="85"/>
                  <a:pt x="427" y="80"/>
                  <a:pt x="435" y="77"/>
                </a:cubicBezTo>
                <a:cubicBezTo>
                  <a:pt x="444" y="73"/>
                  <a:pt x="454" y="72"/>
                  <a:pt x="464" y="72"/>
                </a:cubicBezTo>
                <a:cubicBezTo>
                  <a:pt x="468" y="72"/>
                  <a:pt x="472" y="72"/>
                  <a:pt x="476" y="72"/>
                </a:cubicBezTo>
                <a:cubicBezTo>
                  <a:pt x="480" y="73"/>
                  <a:pt x="484" y="74"/>
                  <a:pt x="487" y="75"/>
                </a:cubicBezTo>
                <a:cubicBezTo>
                  <a:pt x="491" y="76"/>
                  <a:pt x="495" y="77"/>
                  <a:pt x="498" y="78"/>
                </a:cubicBezTo>
                <a:cubicBezTo>
                  <a:pt x="501" y="79"/>
                  <a:pt x="504" y="81"/>
                  <a:pt x="507" y="82"/>
                </a:cubicBezTo>
                <a:cubicBezTo>
                  <a:pt x="493" y="109"/>
                  <a:pt x="493" y="109"/>
                  <a:pt x="493" y="109"/>
                </a:cubicBezTo>
                <a:cubicBezTo>
                  <a:pt x="490" y="108"/>
                  <a:pt x="488" y="107"/>
                  <a:pt x="486" y="106"/>
                </a:cubicBezTo>
                <a:cubicBezTo>
                  <a:pt x="484" y="105"/>
                  <a:pt x="482" y="104"/>
                  <a:pt x="480" y="104"/>
                </a:cubicBezTo>
                <a:cubicBezTo>
                  <a:pt x="478" y="103"/>
                  <a:pt x="476" y="103"/>
                  <a:pt x="474" y="102"/>
                </a:cubicBezTo>
                <a:cubicBezTo>
                  <a:pt x="472" y="102"/>
                  <a:pt x="469" y="102"/>
                  <a:pt x="466" y="102"/>
                </a:cubicBezTo>
                <a:cubicBezTo>
                  <a:pt x="455" y="102"/>
                  <a:pt x="445" y="105"/>
                  <a:pt x="439" y="112"/>
                </a:cubicBezTo>
                <a:cubicBezTo>
                  <a:pt x="432" y="118"/>
                  <a:pt x="428" y="127"/>
                  <a:pt x="428" y="139"/>
                </a:cubicBezTo>
                <a:cubicBezTo>
                  <a:pt x="428" y="144"/>
                  <a:pt x="429" y="149"/>
                  <a:pt x="431" y="154"/>
                </a:cubicBezTo>
                <a:cubicBezTo>
                  <a:pt x="433" y="158"/>
                  <a:pt x="435" y="162"/>
                  <a:pt x="438" y="165"/>
                </a:cubicBezTo>
                <a:cubicBezTo>
                  <a:pt x="441" y="168"/>
                  <a:pt x="445" y="171"/>
                  <a:pt x="449" y="173"/>
                </a:cubicBezTo>
                <a:cubicBezTo>
                  <a:pt x="454" y="175"/>
                  <a:pt x="459" y="175"/>
                  <a:pt x="464" y="175"/>
                </a:cubicBezTo>
                <a:cubicBezTo>
                  <a:pt x="469" y="175"/>
                  <a:pt x="474" y="175"/>
                  <a:pt x="479" y="173"/>
                </a:cubicBezTo>
                <a:cubicBezTo>
                  <a:pt x="484" y="171"/>
                  <a:pt x="489" y="168"/>
                  <a:pt x="493" y="165"/>
                </a:cubicBezTo>
                <a:lnTo>
                  <a:pt x="507" y="192"/>
                </a:lnTo>
                <a:close/>
                <a:moveTo>
                  <a:pt x="126" y="2"/>
                </a:moveTo>
                <a:cubicBezTo>
                  <a:pt x="130" y="1"/>
                  <a:pt x="133" y="1"/>
                  <a:pt x="137" y="0"/>
                </a:cubicBezTo>
                <a:cubicBezTo>
                  <a:pt x="154" y="95"/>
                  <a:pt x="154" y="95"/>
                  <a:pt x="154" y="95"/>
                </a:cubicBezTo>
                <a:cubicBezTo>
                  <a:pt x="150" y="96"/>
                  <a:pt x="146" y="96"/>
                  <a:pt x="143" y="97"/>
                </a:cubicBezTo>
                <a:lnTo>
                  <a:pt x="126" y="2"/>
                </a:lnTo>
                <a:close/>
                <a:moveTo>
                  <a:pt x="122" y="107"/>
                </a:moveTo>
                <a:cubicBezTo>
                  <a:pt x="126" y="105"/>
                  <a:pt x="129" y="102"/>
                  <a:pt x="133" y="101"/>
                </a:cubicBezTo>
                <a:cubicBezTo>
                  <a:pt x="85" y="17"/>
                  <a:pt x="85" y="17"/>
                  <a:pt x="85" y="17"/>
                </a:cubicBezTo>
                <a:cubicBezTo>
                  <a:pt x="82" y="19"/>
                  <a:pt x="78" y="21"/>
                  <a:pt x="74" y="24"/>
                </a:cubicBezTo>
                <a:lnTo>
                  <a:pt x="122" y="107"/>
                </a:lnTo>
                <a:close/>
                <a:moveTo>
                  <a:pt x="95" y="160"/>
                </a:moveTo>
                <a:cubicBezTo>
                  <a:pt x="95" y="156"/>
                  <a:pt x="95" y="153"/>
                  <a:pt x="96" y="149"/>
                </a:cubicBezTo>
                <a:cubicBezTo>
                  <a:pt x="0" y="149"/>
                  <a:pt x="0" y="149"/>
                  <a:pt x="0" y="149"/>
                </a:cubicBezTo>
                <a:cubicBezTo>
                  <a:pt x="0" y="152"/>
                  <a:pt x="0" y="156"/>
                  <a:pt x="0" y="159"/>
                </a:cubicBezTo>
                <a:cubicBezTo>
                  <a:pt x="0" y="162"/>
                  <a:pt x="0" y="165"/>
                  <a:pt x="0" y="169"/>
                </a:cubicBezTo>
                <a:cubicBezTo>
                  <a:pt x="95" y="169"/>
                  <a:pt x="95" y="169"/>
                  <a:pt x="95" y="169"/>
                </a:cubicBezTo>
                <a:cubicBezTo>
                  <a:pt x="95" y="166"/>
                  <a:pt x="95" y="163"/>
                  <a:pt x="95" y="160"/>
                </a:cubicBezTo>
                <a:moveTo>
                  <a:pt x="224" y="160"/>
                </a:moveTo>
                <a:cubicBezTo>
                  <a:pt x="224" y="195"/>
                  <a:pt x="195" y="224"/>
                  <a:pt x="159" y="224"/>
                </a:cubicBezTo>
                <a:cubicBezTo>
                  <a:pt x="128" y="224"/>
                  <a:pt x="101" y="201"/>
                  <a:pt x="96" y="171"/>
                </a:cubicBezTo>
                <a:cubicBezTo>
                  <a:pt x="6" y="203"/>
                  <a:pt x="6" y="203"/>
                  <a:pt x="6" y="203"/>
                </a:cubicBezTo>
                <a:cubicBezTo>
                  <a:pt x="8" y="210"/>
                  <a:pt x="11" y="217"/>
                  <a:pt x="14" y="224"/>
                </a:cubicBezTo>
                <a:cubicBezTo>
                  <a:pt x="103" y="191"/>
                  <a:pt x="103" y="191"/>
                  <a:pt x="103" y="191"/>
                </a:cubicBezTo>
                <a:cubicBezTo>
                  <a:pt x="30" y="253"/>
                  <a:pt x="30" y="253"/>
                  <a:pt x="30" y="253"/>
                </a:cubicBezTo>
                <a:cubicBezTo>
                  <a:pt x="34" y="259"/>
                  <a:pt x="40" y="265"/>
                  <a:pt x="45" y="271"/>
                </a:cubicBezTo>
                <a:cubicBezTo>
                  <a:pt x="113" y="213"/>
                  <a:pt x="113" y="213"/>
                  <a:pt x="113" y="213"/>
                </a:cubicBezTo>
                <a:cubicBezTo>
                  <a:pt x="69" y="291"/>
                  <a:pt x="69" y="291"/>
                  <a:pt x="69" y="291"/>
                </a:cubicBezTo>
                <a:cubicBezTo>
                  <a:pt x="76" y="296"/>
                  <a:pt x="83" y="300"/>
                  <a:pt x="91" y="304"/>
                </a:cubicBezTo>
                <a:cubicBezTo>
                  <a:pt x="133" y="231"/>
                  <a:pt x="133" y="231"/>
                  <a:pt x="133" y="231"/>
                </a:cubicBezTo>
                <a:cubicBezTo>
                  <a:pt x="118" y="314"/>
                  <a:pt x="118" y="314"/>
                  <a:pt x="118" y="314"/>
                </a:cubicBezTo>
                <a:cubicBezTo>
                  <a:pt x="127" y="317"/>
                  <a:pt x="136" y="318"/>
                  <a:pt x="146" y="319"/>
                </a:cubicBezTo>
                <a:cubicBezTo>
                  <a:pt x="159" y="241"/>
                  <a:pt x="159" y="241"/>
                  <a:pt x="159" y="241"/>
                </a:cubicBezTo>
                <a:cubicBezTo>
                  <a:pt x="173" y="319"/>
                  <a:pt x="173" y="319"/>
                  <a:pt x="173" y="319"/>
                </a:cubicBezTo>
                <a:cubicBezTo>
                  <a:pt x="183" y="318"/>
                  <a:pt x="192" y="317"/>
                  <a:pt x="202" y="314"/>
                </a:cubicBezTo>
                <a:cubicBezTo>
                  <a:pt x="189" y="242"/>
                  <a:pt x="189" y="242"/>
                  <a:pt x="189" y="242"/>
                </a:cubicBezTo>
                <a:cubicBezTo>
                  <a:pt x="225" y="305"/>
                  <a:pt x="225" y="305"/>
                  <a:pt x="225" y="305"/>
                </a:cubicBezTo>
                <a:cubicBezTo>
                  <a:pt x="235" y="301"/>
                  <a:pt x="245" y="295"/>
                  <a:pt x="253" y="289"/>
                </a:cubicBezTo>
                <a:cubicBezTo>
                  <a:pt x="220" y="231"/>
                  <a:pt x="220" y="231"/>
                  <a:pt x="220" y="231"/>
                </a:cubicBezTo>
                <a:cubicBezTo>
                  <a:pt x="271" y="274"/>
                  <a:pt x="271" y="274"/>
                  <a:pt x="271" y="274"/>
                </a:cubicBezTo>
                <a:cubicBezTo>
                  <a:pt x="279" y="266"/>
                  <a:pt x="286" y="257"/>
                  <a:pt x="293" y="247"/>
                </a:cubicBezTo>
                <a:cubicBezTo>
                  <a:pt x="247" y="209"/>
                  <a:pt x="247" y="209"/>
                  <a:pt x="247" y="209"/>
                </a:cubicBezTo>
                <a:cubicBezTo>
                  <a:pt x="303" y="229"/>
                  <a:pt x="303" y="229"/>
                  <a:pt x="303" y="229"/>
                </a:cubicBezTo>
                <a:cubicBezTo>
                  <a:pt x="308" y="219"/>
                  <a:pt x="312" y="207"/>
                  <a:pt x="315" y="195"/>
                </a:cubicBezTo>
                <a:cubicBezTo>
                  <a:pt x="266" y="177"/>
                  <a:pt x="266" y="177"/>
                  <a:pt x="266" y="177"/>
                </a:cubicBezTo>
                <a:cubicBezTo>
                  <a:pt x="318" y="177"/>
                  <a:pt x="318" y="177"/>
                  <a:pt x="318" y="177"/>
                </a:cubicBezTo>
                <a:cubicBezTo>
                  <a:pt x="319" y="171"/>
                  <a:pt x="319" y="165"/>
                  <a:pt x="319" y="159"/>
                </a:cubicBezTo>
                <a:cubicBezTo>
                  <a:pt x="319" y="152"/>
                  <a:pt x="318" y="145"/>
                  <a:pt x="317" y="138"/>
                </a:cubicBezTo>
                <a:cubicBezTo>
                  <a:pt x="220" y="138"/>
                  <a:pt x="220" y="138"/>
                  <a:pt x="220" y="138"/>
                </a:cubicBezTo>
                <a:cubicBezTo>
                  <a:pt x="223" y="145"/>
                  <a:pt x="224" y="152"/>
                  <a:pt x="224" y="160"/>
                </a:cubicBezTo>
                <a:moveTo>
                  <a:pt x="97" y="145"/>
                </a:moveTo>
                <a:cubicBezTo>
                  <a:pt x="98" y="139"/>
                  <a:pt x="100" y="134"/>
                  <a:pt x="103" y="129"/>
                </a:cubicBezTo>
                <a:cubicBezTo>
                  <a:pt x="13" y="96"/>
                  <a:pt x="13" y="96"/>
                  <a:pt x="13" y="96"/>
                </a:cubicBezTo>
                <a:cubicBezTo>
                  <a:pt x="11" y="101"/>
                  <a:pt x="9" y="107"/>
                  <a:pt x="7" y="112"/>
                </a:cubicBezTo>
                <a:lnTo>
                  <a:pt x="97" y="145"/>
                </a:lnTo>
                <a:close/>
                <a:moveTo>
                  <a:pt x="280" y="54"/>
                </a:moveTo>
                <a:cubicBezTo>
                  <a:pt x="207" y="115"/>
                  <a:pt x="207" y="115"/>
                  <a:pt x="207" y="115"/>
                </a:cubicBezTo>
                <a:cubicBezTo>
                  <a:pt x="208" y="117"/>
                  <a:pt x="210" y="119"/>
                  <a:pt x="212" y="121"/>
                </a:cubicBezTo>
                <a:cubicBezTo>
                  <a:pt x="285" y="60"/>
                  <a:pt x="285" y="60"/>
                  <a:pt x="285" y="60"/>
                </a:cubicBezTo>
                <a:cubicBezTo>
                  <a:pt x="283" y="58"/>
                  <a:pt x="281" y="56"/>
                  <a:pt x="280" y="54"/>
                </a:cubicBezTo>
                <a:moveTo>
                  <a:pt x="243" y="23"/>
                </a:moveTo>
                <a:cubicBezTo>
                  <a:pt x="241" y="21"/>
                  <a:pt x="238" y="20"/>
                  <a:pt x="236" y="18"/>
                </a:cubicBezTo>
                <a:cubicBezTo>
                  <a:pt x="188" y="102"/>
                  <a:pt x="188" y="102"/>
                  <a:pt x="188" y="102"/>
                </a:cubicBezTo>
                <a:cubicBezTo>
                  <a:pt x="190" y="103"/>
                  <a:pt x="193" y="104"/>
                  <a:pt x="196" y="106"/>
                </a:cubicBezTo>
                <a:lnTo>
                  <a:pt x="243" y="23"/>
                </a:lnTo>
                <a:close/>
                <a:moveTo>
                  <a:pt x="116" y="112"/>
                </a:moveTo>
                <a:cubicBezTo>
                  <a:pt x="42" y="50"/>
                  <a:pt x="42" y="50"/>
                  <a:pt x="42" y="50"/>
                </a:cubicBezTo>
                <a:cubicBezTo>
                  <a:pt x="39" y="54"/>
                  <a:pt x="36" y="58"/>
                  <a:pt x="33" y="62"/>
                </a:cubicBezTo>
                <a:cubicBezTo>
                  <a:pt x="106" y="124"/>
                  <a:pt x="106" y="124"/>
                  <a:pt x="106" y="124"/>
                </a:cubicBezTo>
                <a:cubicBezTo>
                  <a:pt x="109" y="119"/>
                  <a:pt x="112" y="116"/>
                  <a:pt x="116" y="112"/>
                </a:cubicBezTo>
                <a:moveTo>
                  <a:pt x="166" y="95"/>
                </a:moveTo>
                <a:cubicBezTo>
                  <a:pt x="169" y="96"/>
                  <a:pt x="172" y="96"/>
                  <a:pt x="175" y="97"/>
                </a:cubicBezTo>
                <a:cubicBezTo>
                  <a:pt x="192" y="2"/>
                  <a:pt x="192" y="2"/>
                  <a:pt x="192" y="2"/>
                </a:cubicBezTo>
                <a:cubicBezTo>
                  <a:pt x="189" y="1"/>
                  <a:pt x="186" y="1"/>
                  <a:pt x="183" y="0"/>
                </a:cubicBezTo>
                <a:lnTo>
                  <a:pt x="166" y="95"/>
                </a:lnTo>
                <a:close/>
              </a:path>
            </a:pathLst>
          </a:custGeom>
          <a:solidFill>
            <a:schemeClr val="tx1"/>
          </a:solidFill>
          <a:ln>
            <a:noFill/>
          </a:ln>
        </p:spPr>
        <p:txBody>
          <a:bodyPr vert="horz" wrap="square" lIns="121888" tIns="60944" rIns="121888" bIns="60944" numCol="1" anchor="t" anchorCtr="0" compatLnSpc="1">
            <a:prstTxWarp prst="textNoShape">
              <a:avLst/>
            </a:prstTxWarp>
          </a:bodyPr>
          <a:lstStyle/>
          <a:p>
            <a:endParaRPr lang="en-US" sz="3199"/>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3" name="Footer Placeholder 2">
            <a:extLst>
              <a:ext uri="{FF2B5EF4-FFF2-40B4-BE49-F238E27FC236}">
                <a16:creationId xmlns:a16="http://schemas.microsoft.com/office/drawing/2014/main" id="{3C75B21E-0BD8-F94F-ABE9-B059D58347A6}"/>
              </a:ext>
            </a:extLst>
          </p:cNvPr>
          <p:cNvSpPr>
            <a:spLocks noGrp="1"/>
          </p:cNvSpPr>
          <p:nvPr>
            <p:ph type="ftr" sz="quarter" idx="16"/>
          </p:nvPr>
        </p:nvSpPr>
        <p:spPr/>
        <p:txBody>
          <a:bodyPr/>
          <a:lstStyle/>
          <a:p>
            <a:r>
              <a:rPr lang="en-US" dirty="0">
                <a:cs typeface="DIN-Light"/>
              </a:rPr>
              <a:t>© 2022 </a:t>
            </a:r>
            <a:r>
              <a:rPr lang="en-US" dirty="0"/>
              <a:t>Collins Aerospace.  | Collins Aerospace Proprietary.  |  This document does not include any export controlled technical data.</a:t>
            </a:r>
          </a:p>
        </p:txBody>
      </p:sp>
    </p:spTree>
    <p:extLst>
      <p:ext uri="{BB962C8B-B14F-4D97-AF65-F5344CB8AC3E}">
        <p14:creationId xmlns:p14="http://schemas.microsoft.com/office/powerpoint/2010/main" val="4085294285"/>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716939393"/>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83319727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55369927"/>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307650102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59651743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ollins Cover: UH-60 Blackhaw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D93502-0A19-3C4D-8E40-85252E84B68F}"/>
              </a:ext>
            </a:extLst>
          </p:cNvPr>
          <p:cNvPicPr>
            <a:picLocks noChangeAspect="1"/>
          </p:cNvPicPr>
          <p:nvPr userDrawn="1"/>
        </p:nvPicPr>
        <p:blipFill>
          <a:blip r:embed="rId2"/>
          <a:stretch>
            <a:fillRect/>
          </a:stretch>
        </p:blipFill>
        <p:spPr>
          <a:xfrm>
            <a:off x="0" y="0"/>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10" name="Graphic 9">
            <a:extLst>
              <a:ext uri="{FF2B5EF4-FFF2-40B4-BE49-F238E27FC236}">
                <a16:creationId xmlns:a16="http://schemas.microsoft.com/office/drawing/2014/main" id="{A787AB98-5F2A-FF41-A513-9AE47180BD8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2F5A6B71-801B-4548-95BF-EFDC7CD73175}"/>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007516146"/>
      </p:ext>
    </p:extLst>
  </p:cSld>
  <p:clrMapOvr>
    <a:masterClrMapping/>
  </p:clrMapOvr>
  <p:extLst>
    <p:ext uri="{DCECCB84-F9BA-43D5-87BE-67443E8EF086}">
      <p15:sldGuideLst xmlns:p15="http://schemas.microsoft.com/office/powerpoint/2012/main">
        <p15:guide id="1" orient="horz" pos="3552" userDrawn="1">
          <p15:clr>
            <a:srgbClr val="FBAE40"/>
          </p15:clr>
        </p15:guide>
        <p15:guide id="2" orient="horz" pos="3144" userDrawn="1">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2_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204024032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1_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328889051"/>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llins Content: 1 column">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1475701"/>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Arial" panose="020B0604020202020204" pitchFamily="34" charset="0"/>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Arial" panose="020B0604020202020204" pitchFamily="34" charset="0"/>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Arial" panose="020B0604020202020204" pitchFamily="34" charset="0"/>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506185241"/>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llins Content: 1 column/photo">
    <p:bg>
      <p:bgRef idx="1001">
        <a:schemeClr val="bg1"/>
      </p:bgRef>
    </p:bg>
    <p:spTree>
      <p:nvGrpSpPr>
        <p:cNvPr id="1" name=""/>
        <p:cNvGrpSpPr/>
        <p:nvPr/>
      </p:nvGrpSpPr>
      <p:grpSpPr>
        <a:xfrm>
          <a:off x="0" y="0"/>
          <a:ext cx="0" cy="0"/>
          <a:chOff x="0" y="0"/>
          <a:chExt cx="0" cy="0"/>
        </a:xfrm>
      </p:grpSpPr>
      <p:sp>
        <p:nvSpPr>
          <p:cNvPr id="31" name="Body 1"/>
          <p:cNvSpPr>
            <a:spLocks noGrp="1"/>
          </p:cNvSpPr>
          <p:nvPr>
            <p:ph type="body" sz="quarter" idx="13" hasCustomPrompt="1"/>
          </p:nvPr>
        </p:nvSpPr>
        <p:spPr>
          <a:xfrm>
            <a:off x="696434" y="2251610"/>
            <a:ext cx="3418367" cy="3539591"/>
          </a:xfrm>
          <a:noFill/>
        </p:spPr>
        <p:txBody>
          <a:bodyPr/>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Picture Placeholder 2"/>
          <p:cNvSpPr>
            <a:spLocks noGrp="1"/>
          </p:cNvSpPr>
          <p:nvPr>
            <p:ph type="pic" sz="quarter" idx="17" hasCustomPrompt="1"/>
          </p:nvPr>
        </p:nvSpPr>
        <p:spPr>
          <a:xfrm>
            <a:off x="4381501" y="1572734"/>
            <a:ext cx="7124700" cy="4218468"/>
          </a:xfrm>
          <a:solidFill>
            <a:schemeClr val="bg2"/>
          </a:solidFill>
        </p:spPr>
        <p:txBody>
          <a:bodyPr tIns="1188720"/>
          <a:lstStyle>
            <a:lvl1pPr marL="0" indent="0" algn="ctr">
              <a:buNone/>
              <a:defRPr/>
            </a:lvl1pPr>
          </a:lstStyle>
          <a:p>
            <a:r>
              <a:rPr lang="en-US" dirty="0"/>
              <a:t>Click to insert photo</a:t>
            </a:r>
          </a:p>
        </p:txBody>
      </p:sp>
      <p:sp>
        <p:nvSpPr>
          <p:cNvPr id="17"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9" name="Text Placeholder 2"/>
          <p:cNvSpPr>
            <a:spLocks noGrp="1"/>
          </p:cNvSpPr>
          <p:nvPr>
            <p:ph type="body" sz="quarter" idx="21" hasCustomPrompt="1"/>
          </p:nvPr>
        </p:nvSpPr>
        <p:spPr>
          <a:xfrm>
            <a:off x="695325" y="1572733"/>
            <a:ext cx="3419475" cy="590931"/>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0" name="Title 5"/>
          <p:cNvSpPr>
            <a:spLocks noGrp="1"/>
          </p:cNvSpPr>
          <p:nvPr>
            <p:ph type="title" hasCustomPrompt="1"/>
          </p:nvPr>
        </p:nvSpPr>
        <p:spPr>
          <a:xfrm>
            <a:off x="694944" y="514474"/>
            <a:ext cx="10811256" cy="676653"/>
          </a:xfrm>
          <a:prstGeom prst="rect">
            <a:avLst/>
          </a:prstGeom>
        </p:spPr>
        <p:txBody>
          <a:bodyPr/>
          <a:lstStyle>
            <a:lvl1pPr>
              <a:lnSpc>
                <a:spcPct val="80000"/>
              </a:lnSpc>
              <a:defRPr b="0" spc="300"/>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8C1C86D5-FAD5-0C48-B07B-53F7036D5DF0}"/>
              </a:ext>
            </a:extLst>
          </p:cNvPr>
          <p:cNvSpPr>
            <a:spLocks noGrp="1"/>
          </p:cNvSpPr>
          <p:nvPr>
            <p:ph type="ftr" sz="quarter" idx="22"/>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56007271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llins Content: 1 column/subhead">
    <p:spTree>
      <p:nvGrpSpPr>
        <p:cNvPr id="1" name=""/>
        <p:cNvGrpSpPr/>
        <p:nvPr/>
      </p:nvGrpSpPr>
      <p:grpSpPr>
        <a:xfrm>
          <a:off x="0" y="0"/>
          <a:ext cx="0" cy="0"/>
          <a:chOff x="0" y="0"/>
          <a:chExt cx="0" cy="0"/>
        </a:xfrm>
      </p:grpSpPr>
      <p:sp>
        <p:nvSpPr>
          <p:cNvPr id="31" name="Body"/>
          <p:cNvSpPr>
            <a:spLocks noGrp="1"/>
          </p:cNvSpPr>
          <p:nvPr>
            <p:ph type="body" sz="quarter" idx="13" hasCustomPrompt="1"/>
          </p:nvPr>
        </p:nvSpPr>
        <p:spPr>
          <a:xfrm>
            <a:off x="685801" y="2008402"/>
            <a:ext cx="10829543" cy="3782799"/>
          </a:xfrm>
          <a:noFill/>
        </p:spPr>
        <p:txBody>
          <a:bodyPr/>
          <a:lstStyle>
            <a:lvl1pPr marL="219451" indent="-219451" algn="l" defTabSz="914377"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2000" kern="1200" baseline="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baseline="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baseline="0" dirty="0">
                <a:solidFill>
                  <a:schemeClr val="tx1"/>
                </a:solidFill>
                <a:latin typeface="+mn-lt"/>
                <a:ea typeface="+mn-ea"/>
                <a:cs typeface="+mn-cs"/>
              </a:defRPr>
            </a:lvl5pPr>
          </a:lstStyle>
          <a:p>
            <a:pPr lvl="0"/>
            <a:r>
              <a:rPr lang="en-US" dirty="0"/>
              <a:t>Main bullet. 22 pt. Black.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ext Placeholder 2"/>
          <p:cNvSpPr>
            <a:spLocks noGrp="1"/>
          </p:cNvSpPr>
          <p:nvPr>
            <p:ph type="body" sz="quarter" idx="17" hasCustomPrompt="1"/>
          </p:nvPr>
        </p:nvSpPr>
        <p:spPr>
          <a:xfrm>
            <a:off x="685800" y="1572734"/>
            <a:ext cx="10820400"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Title 5"/>
          <p:cNvSpPr>
            <a:spLocks noGrp="1"/>
          </p:cNvSpPr>
          <p:nvPr>
            <p:ph type="title" hasCustomPrompt="1"/>
          </p:nvPr>
        </p:nvSpPr>
        <p:spPr>
          <a:xfrm>
            <a:off x="694944" y="514474"/>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
        <p:nvSpPr>
          <p:cNvPr id="8"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659480934"/>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llins Content: 2 column">
    <p:spTree>
      <p:nvGrpSpPr>
        <p:cNvPr id="1" name=""/>
        <p:cNvGrpSpPr/>
        <p:nvPr/>
      </p:nvGrpSpPr>
      <p:grpSpPr>
        <a:xfrm>
          <a:off x="0" y="0"/>
          <a:ext cx="0" cy="0"/>
          <a:chOff x="0" y="0"/>
          <a:chExt cx="0" cy="0"/>
        </a:xfrm>
      </p:grpSpPr>
      <p:sp>
        <p:nvSpPr>
          <p:cNvPr id="13" name="Body 2"/>
          <p:cNvSpPr>
            <a:spLocks noGrp="1"/>
          </p:cNvSpPr>
          <p:nvPr>
            <p:ph type="body" sz="quarter" idx="17" hasCustomPrompt="1"/>
          </p:nvPr>
        </p:nvSpPr>
        <p:spPr>
          <a:xfrm>
            <a:off x="6258629" y="2068034"/>
            <a:ext cx="5247571" cy="3723167"/>
          </a:xfrm>
          <a:noFill/>
        </p:spPr>
        <p:txBody>
          <a:bodyPr rIns="182880"/>
          <a:lstStyle>
            <a:lvl1pPr marL="219451"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068034"/>
            <a:ext cx="5247167" cy="3723167"/>
          </a:xfrm>
          <a:noFill/>
        </p:spPr>
        <p:txBody>
          <a:bodyPr rIns="182880"/>
          <a:lstStyle>
            <a:lvl1pPr marL="219451" indent="-219451" algn="l" defTabSz="914377" rtl="0" eaLnBrk="1" latinLnBrk="0" hangingPunct="1">
              <a:lnSpc>
                <a:spcPct val="100000"/>
              </a:lnSpc>
              <a:spcBef>
                <a:spcPts val="0"/>
              </a:spcBef>
              <a:spcAft>
                <a:spcPts val="600"/>
              </a:spcAft>
              <a:buFont typeface="Arial" panose="020B0604020202020204" pitchFamily="34" charset="0"/>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6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6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2" name="Text Placeholder 2"/>
          <p:cNvSpPr>
            <a:spLocks noGrp="1"/>
          </p:cNvSpPr>
          <p:nvPr>
            <p:ph type="body" sz="quarter" idx="21" hasCustomPrompt="1"/>
          </p:nvPr>
        </p:nvSpPr>
        <p:spPr>
          <a:xfrm>
            <a:off x="695325"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4" name="Text Placeholder 2"/>
          <p:cNvSpPr>
            <a:spLocks noGrp="1"/>
          </p:cNvSpPr>
          <p:nvPr>
            <p:ph type="body" sz="quarter" idx="22" hasCustomPrompt="1"/>
          </p:nvPr>
        </p:nvSpPr>
        <p:spPr>
          <a:xfrm>
            <a:off x="6248400" y="1572734"/>
            <a:ext cx="5248275"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9"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6054B65-0620-854F-BFAF-B71F0AF716DE}"/>
              </a:ext>
            </a:extLst>
          </p:cNvPr>
          <p:cNvSpPr>
            <a:spLocks noGrp="1"/>
          </p:cNvSpPr>
          <p:nvPr>
            <p:ph type="ftr" sz="quarter" idx="23"/>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981628577"/>
      </p:ext>
    </p:extLst>
  </p:cSld>
  <p:clrMapOvr>
    <a:masterClrMapping/>
  </p:clrMapOvr>
  <p:extLst>
    <p:ext uri="{DCECCB84-F9BA-43D5-87BE-67443E8EF086}">
      <p15:sldGuideLst xmlns:p15="http://schemas.microsoft.com/office/powerpoint/2012/main">
        <p15:guide id="1" orient="horz" pos="129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llins Content: 3 column">
    <p:spTree>
      <p:nvGrpSpPr>
        <p:cNvPr id="1" name=""/>
        <p:cNvGrpSpPr/>
        <p:nvPr/>
      </p:nvGrpSpPr>
      <p:grpSpPr>
        <a:xfrm>
          <a:off x="0" y="0"/>
          <a:ext cx="0" cy="0"/>
          <a:chOff x="0" y="0"/>
          <a:chExt cx="0" cy="0"/>
        </a:xfrm>
      </p:grpSpPr>
      <p:sp>
        <p:nvSpPr>
          <p:cNvPr id="13" name="Body 3"/>
          <p:cNvSpPr>
            <a:spLocks noGrp="1"/>
          </p:cNvSpPr>
          <p:nvPr>
            <p:ph type="body" sz="quarter" idx="18" hasCustomPrompt="1"/>
          </p:nvPr>
        </p:nvSpPr>
        <p:spPr>
          <a:xfrm>
            <a:off x="8092685" y="2258533"/>
            <a:ext cx="3413515" cy="3532667"/>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Body 2"/>
          <p:cNvSpPr>
            <a:spLocks noGrp="1"/>
          </p:cNvSpPr>
          <p:nvPr>
            <p:ph type="body" sz="quarter" idx="17" hasCustomPrompt="1"/>
          </p:nvPr>
        </p:nvSpPr>
        <p:spPr>
          <a:xfrm>
            <a:off x="4396985" y="2258533"/>
            <a:ext cx="3413516" cy="3532667"/>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1" name="Body 1"/>
          <p:cNvSpPr>
            <a:spLocks noGrp="1"/>
          </p:cNvSpPr>
          <p:nvPr>
            <p:ph type="body" sz="quarter" idx="13" hasCustomPrompt="1"/>
          </p:nvPr>
        </p:nvSpPr>
        <p:spPr>
          <a:xfrm>
            <a:off x="696434" y="2258533"/>
            <a:ext cx="3418367" cy="3532667"/>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4" name="Text Placeholder 2"/>
          <p:cNvSpPr>
            <a:spLocks noGrp="1"/>
          </p:cNvSpPr>
          <p:nvPr>
            <p:ph type="body" sz="quarter" idx="21" hasCustomPrompt="1"/>
          </p:nvPr>
        </p:nvSpPr>
        <p:spPr>
          <a:xfrm>
            <a:off x="695325" y="1572733"/>
            <a:ext cx="3419475" cy="590931"/>
          </a:xfrm>
          <a:noFill/>
        </p:spPr>
        <p:txBody>
          <a:bodyPr vert="horz" wrap="square" lIns="0" tIns="0" rIns="0" bIns="91440" rtlCol="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5" name="Text Placeholder 2"/>
          <p:cNvSpPr>
            <a:spLocks noGrp="1"/>
          </p:cNvSpPr>
          <p:nvPr>
            <p:ph type="body" sz="quarter" idx="23" hasCustomPrompt="1"/>
          </p:nvPr>
        </p:nvSpPr>
        <p:spPr>
          <a:xfrm>
            <a:off x="4364235" y="1572733"/>
            <a:ext cx="3419475" cy="590931"/>
          </a:xfrm>
          <a:noFill/>
        </p:spPr>
        <p:txBody>
          <a:bodyPr vert="horz" wrap="square" lIns="0" tIns="0" rIns="0" bIns="91440" rtlCol="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4" hasCustomPrompt="1"/>
          </p:nvPr>
        </p:nvSpPr>
        <p:spPr>
          <a:xfrm>
            <a:off x="8077201" y="1572733"/>
            <a:ext cx="3419475" cy="590931"/>
          </a:xfrm>
          <a:noFill/>
        </p:spPr>
        <p:txBody>
          <a:bodyPr vert="horz" wrap="square" lIns="0" tIns="0" rIns="0" bIns="91440" rtlCol="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11"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0325C011-809B-F142-87DD-B50CF52804EA}"/>
              </a:ext>
            </a:extLst>
          </p:cNvPr>
          <p:cNvSpPr>
            <a:spLocks noGrp="1"/>
          </p:cNvSpPr>
          <p:nvPr>
            <p:ph type="ftr" sz="quarter" idx="25"/>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76669755"/>
      </p:ext>
    </p:extLst>
  </p:cSld>
  <p:clrMapOvr>
    <a:masterClrMapping/>
  </p:clrMapOvr>
  <p:extLst>
    <p:ext uri="{DCECCB84-F9BA-43D5-87BE-67443E8EF086}">
      <p15:sldGuideLst xmlns:p15="http://schemas.microsoft.com/office/powerpoint/2012/main">
        <p15:guide id="1" orient="horz" pos="141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llins Content: 3 columns/photos">
    <p:spTree>
      <p:nvGrpSpPr>
        <p:cNvPr id="1" name=""/>
        <p:cNvGrpSpPr/>
        <p:nvPr/>
      </p:nvGrpSpPr>
      <p:grpSpPr>
        <a:xfrm>
          <a:off x="0" y="0"/>
          <a:ext cx="0" cy="0"/>
          <a:chOff x="0" y="0"/>
          <a:chExt cx="0" cy="0"/>
        </a:xfrm>
      </p:grpSpPr>
      <p:sp>
        <p:nvSpPr>
          <p:cNvPr id="3" name="Picture Placeholder 2"/>
          <p:cNvSpPr>
            <a:spLocks noGrp="1"/>
          </p:cNvSpPr>
          <p:nvPr>
            <p:ph type="pic" sz="quarter" idx="22" hasCustomPrompt="1"/>
          </p:nvPr>
        </p:nvSpPr>
        <p:spPr>
          <a:xfrm>
            <a:off x="685800" y="1312494"/>
            <a:ext cx="3429000" cy="1829708"/>
          </a:xfrm>
          <a:solidFill>
            <a:schemeClr val="bg2"/>
          </a:solidFill>
        </p:spPr>
        <p:txBody>
          <a:bodyPr tIns="365760"/>
          <a:lstStyle>
            <a:lvl1pPr marL="0" indent="0" algn="ctr">
              <a:buNone/>
              <a:defRPr sz="1800"/>
            </a:lvl1pPr>
          </a:lstStyle>
          <a:p>
            <a:r>
              <a:rPr lang="en-US" dirty="0"/>
              <a:t>Click to insert photo</a:t>
            </a:r>
          </a:p>
        </p:txBody>
      </p:sp>
      <p:sp>
        <p:nvSpPr>
          <p:cNvPr id="20" name="Picture Placeholder 2"/>
          <p:cNvSpPr>
            <a:spLocks noGrp="1"/>
          </p:cNvSpPr>
          <p:nvPr>
            <p:ph type="pic" sz="quarter" idx="23" hasCustomPrompt="1"/>
          </p:nvPr>
        </p:nvSpPr>
        <p:spPr>
          <a:xfrm>
            <a:off x="4381500" y="1312494"/>
            <a:ext cx="3429000" cy="1829709"/>
          </a:xfrm>
          <a:solidFill>
            <a:schemeClr val="bg2"/>
          </a:solidFill>
        </p:spPr>
        <p:txBody>
          <a:bodyPr tIns="365760"/>
          <a:lstStyle>
            <a:lvl1pPr marL="0" indent="0" algn="ctr">
              <a:buNone/>
              <a:defRPr sz="1800" baseline="0"/>
            </a:lvl1pPr>
          </a:lstStyle>
          <a:p>
            <a:r>
              <a:rPr lang="en-US" dirty="0"/>
              <a:t>Click to insert photo</a:t>
            </a:r>
          </a:p>
        </p:txBody>
      </p:sp>
      <p:sp>
        <p:nvSpPr>
          <p:cNvPr id="21" name="Picture Placeholder 2"/>
          <p:cNvSpPr>
            <a:spLocks noGrp="1"/>
          </p:cNvSpPr>
          <p:nvPr>
            <p:ph type="pic" sz="quarter" idx="24" hasCustomPrompt="1"/>
          </p:nvPr>
        </p:nvSpPr>
        <p:spPr>
          <a:xfrm>
            <a:off x="8077200" y="1312494"/>
            <a:ext cx="3429000" cy="1829708"/>
          </a:xfrm>
          <a:solidFill>
            <a:schemeClr val="bg2"/>
          </a:solidFill>
        </p:spPr>
        <p:txBody>
          <a:bodyPr tIns="365760"/>
          <a:lstStyle>
            <a:lvl1pPr marL="0" indent="0" algn="ctr">
              <a:buNone/>
              <a:defRPr sz="1800" baseline="0"/>
            </a:lvl1pPr>
          </a:lstStyle>
          <a:p>
            <a:r>
              <a:rPr lang="en-US" dirty="0"/>
              <a:t>Click to insert photo</a:t>
            </a:r>
          </a:p>
        </p:txBody>
      </p:sp>
      <p:sp>
        <p:nvSpPr>
          <p:cNvPr id="18"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9"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43" name="Body 3"/>
          <p:cNvSpPr>
            <a:spLocks noGrp="1"/>
          </p:cNvSpPr>
          <p:nvPr>
            <p:ph type="body" sz="quarter" idx="18" hasCustomPrompt="1"/>
          </p:nvPr>
        </p:nvSpPr>
        <p:spPr>
          <a:xfrm>
            <a:off x="8077200" y="3897990"/>
            <a:ext cx="3429000" cy="1829708"/>
          </a:xfrm>
          <a:noFill/>
        </p:spPr>
        <p:txBody>
          <a:bodyPr rIns="182880"/>
          <a:lstStyle>
            <a:lvl1pPr marL="219445" marR="0" indent="-219445" algn="l" defTabSz="914377"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27"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677"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4" name="Body 2"/>
          <p:cNvSpPr>
            <a:spLocks noGrp="1"/>
          </p:cNvSpPr>
          <p:nvPr>
            <p:ph type="body" sz="quarter" idx="17" hasCustomPrompt="1"/>
          </p:nvPr>
        </p:nvSpPr>
        <p:spPr>
          <a:xfrm>
            <a:off x="4381500" y="3897990"/>
            <a:ext cx="3429000" cy="1829709"/>
          </a:xfrm>
          <a:noFill/>
        </p:spPr>
        <p:txBody>
          <a:bodyPr rIns="182880"/>
          <a:lstStyle>
            <a:lvl1pPr marL="219445" marR="0" indent="-219445" algn="l" defTabSz="914377"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marL="841227"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4pPr>
            <a:lvl5pPr marL="1060677"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5" name="Body 1"/>
          <p:cNvSpPr>
            <a:spLocks noGrp="1"/>
          </p:cNvSpPr>
          <p:nvPr>
            <p:ph type="body" sz="quarter" idx="13" hasCustomPrompt="1"/>
          </p:nvPr>
        </p:nvSpPr>
        <p:spPr>
          <a:xfrm>
            <a:off x="696434" y="3897991"/>
            <a:ext cx="3418367" cy="1830552"/>
          </a:xfrm>
          <a:noFill/>
        </p:spPr>
        <p:txBody>
          <a:bodyPr rIns="182880"/>
          <a:lstStyle>
            <a:lvl1pPr marL="219445" marR="0" indent="-219445" algn="l" defTabSz="914377" rtl="0" eaLnBrk="1" fontAlgn="auto" latinLnBrk="0" hangingPunct="1">
              <a:lnSpc>
                <a:spcPct val="100000"/>
              </a:lnSpc>
              <a:spcBef>
                <a:spcPct val="0"/>
              </a:spcBef>
              <a:spcAft>
                <a:spcPts val="600"/>
              </a:spcAft>
              <a:buClr>
                <a:srgbClr val="CE1126"/>
              </a:buClr>
              <a:buSzPct val="75000"/>
              <a:buFont typeface="Arial" panose="020B0604020202020204" pitchFamily="34" charset="0"/>
              <a:buChar char="•"/>
              <a:tabLst/>
              <a:defRPr lang="en-US" sz="1800" kern="1200" baseline="0" dirty="0" smtClean="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3pPr>
            <a:lvl4pPr marL="841227"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marL="1060677"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9" name="Text Placeholder 2"/>
          <p:cNvSpPr>
            <a:spLocks noGrp="1"/>
          </p:cNvSpPr>
          <p:nvPr>
            <p:ph type="body" sz="quarter" idx="21" hasCustomPrompt="1"/>
          </p:nvPr>
        </p:nvSpPr>
        <p:spPr>
          <a:xfrm>
            <a:off x="695325" y="3293427"/>
            <a:ext cx="3419475" cy="590931"/>
          </a:xfrm>
          <a:noFill/>
        </p:spPr>
        <p:txBody>
          <a:bodyPr vert="horz" wrap="square" lIns="0" tIns="0" rIns="0" bIns="91440" rtlCol="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0" name="Text Placeholder 2"/>
          <p:cNvSpPr>
            <a:spLocks noGrp="1"/>
          </p:cNvSpPr>
          <p:nvPr>
            <p:ph type="body" sz="quarter" idx="26" hasCustomPrompt="1"/>
          </p:nvPr>
        </p:nvSpPr>
        <p:spPr>
          <a:xfrm>
            <a:off x="4364235" y="3293427"/>
            <a:ext cx="3419475" cy="590931"/>
          </a:xfrm>
          <a:noFill/>
        </p:spPr>
        <p:txBody>
          <a:bodyPr vert="horz" wrap="square" lIns="0" tIns="0" rIns="0" bIns="91440" rtlCol="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1" name="Text Placeholder 2"/>
          <p:cNvSpPr>
            <a:spLocks noGrp="1"/>
          </p:cNvSpPr>
          <p:nvPr>
            <p:ph type="body" sz="quarter" idx="27" hasCustomPrompt="1"/>
          </p:nvPr>
        </p:nvSpPr>
        <p:spPr>
          <a:xfrm>
            <a:off x="8077201" y="3293427"/>
            <a:ext cx="3419475" cy="590931"/>
          </a:xfrm>
          <a:noFill/>
        </p:spPr>
        <p:txBody>
          <a:bodyPr vert="horz" wrap="square" lIns="0" tIns="0" rIns="0" bIns="91440" rtlCol="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22"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F2FFE885-255A-DE4B-B7E6-9A98CEBD81FA}"/>
              </a:ext>
            </a:extLst>
          </p:cNvPr>
          <p:cNvSpPr>
            <a:spLocks noGrp="1"/>
          </p:cNvSpPr>
          <p:nvPr>
            <p:ph type="ftr" sz="quarter" idx="2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55306424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llins Content: Text Quad">
    <p:spTree>
      <p:nvGrpSpPr>
        <p:cNvPr id="1" name=""/>
        <p:cNvGrpSpPr/>
        <p:nvPr/>
      </p:nvGrpSpPr>
      <p:grpSpPr>
        <a:xfrm>
          <a:off x="0" y="0"/>
          <a:ext cx="0" cy="0"/>
          <a:chOff x="0" y="0"/>
          <a:chExt cx="0" cy="0"/>
        </a:xfrm>
      </p:grpSpPr>
      <p:sp>
        <p:nvSpPr>
          <p:cNvPr id="14" name="Body 4"/>
          <p:cNvSpPr>
            <a:spLocks noGrp="1"/>
          </p:cNvSpPr>
          <p:nvPr>
            <p:ph type="body" sz="quarter" idx="19" hasCustomPrompt="1"/>
          </p:nvPr>
        </p:nvSpPr>
        <p:spPr>
          <a:xfrm>
            <a:off x="6260433" y="4060048"/>
            <a:ext cx="5257801" cy="1426355"/>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2" name="Body 3"/>
          <p:cNvSpPr>
            <a:spLocks noGrp="1"/>
          </p:cNvSpPr>
          <p:nvPr>
            <p:ph type="body" sz="quarter" idx="17" hasCustomPrompt="1"/>
          </p:nvPr>
        </p:nvSpPr>
        <p:spPr>
          <a:xfrm>
            <a:off x="6260431" y="1922165"/>
            <a:ext cx="5257800" cy="1426464"/>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13" name="Body 2"/>
          <p:cNvSpPr>
            <a:spLocks noGrp="1"/>
          </p:cNvSpPr>
          <p:nvPr>
            <p:ph type="body" sz="quarter" idx="18" hasCustomPrompt="1"/>
          </p:nvPr>
        </p:nvSpPr>
        <p:spPr>
          <a:xfrm>
            <a:off x="697832" y="4060048"/>
            <a:ext cx="5241851" cy="1426355"/>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dirty="0" smtClean="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31" name="Body 1"/>
          <p:cNvSpPr>
            <a:spLocks noGrp="1"/>
          </p:cNvSpPr>
          <p:nvPr>
            <p:ph type="body" sz="quarter" idx="13" hasCustomPrompt="1"/>
          </p:nvPr>
        </p:nvSpPr>
        <p:spPr>
          <a:xfrm>
            <a:off x="698346" y="1922165"/>
            <a:ext cx="5240823" cy="1426464"/>
          </a:xfrm>
          <a:noFill/>
        </p:spPr>
        <p:txBody>
          <a:bodyPr rIns="182880"/>
          <a:lstStyle>
            <a:lvl1pPr marL="219445" indent="-219445" algn="l" defTabSz="914377" rtl="0" eaLnBrk="1" latinLnBrk="0" hangingPunct="1">
              <a:lnSpc>
                <a:spcPct val="100000"/>
              </a:lnSpc>
              <a:spcBef>
                <a:spcPct val="0"/>
              </a:spcBef>
              <a:spcAft>
                <a:spcPts val="600"/>
              </a:spcAft>
              <a:buClr>
                <a:srgbClr val="CE1126"/>
              </a:buClr>
              <a:buSzPct val="75000"/>
              <a:buFont typeface="Arial" panose="020B0604020202020204" pitchFamily="34" charset="0"/>
              <a:buChar char="•"/>
              <a:defRPr lang="en-US" sz="1800" kern="1200" baseline="0" dirty="0" smtClean="0">
                <a:solidFill>
                  <a:schemeClr val="tx1"/>
                </a:solidFill>
                <a:latin typeface="+mn-lt"/>
                <a:ea typeface="+mn-ea"/>
                <a:cs typeface="+mn-cs"/>
              </a:defRPr>
            </a:lvl1pPr>
            <a:lvl2pPr marL="438901" indent="-219451" algn="l" defTabSz="914377"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800" kern="1200" dirty="0" smtClean="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dirty="0" smtClean="0">
                <a:solidFill>
                  <a:schemeClr val="tx1"/>
                </a:solidFill>
                <a:latin typeface="+mn-lt"/>
                <a:ea typeface="+mn-ea"/>
                <a:cs typeface="+mn-cs"/>
              </a:defRPr>
            </a:lvl3pPr>
            <a:lvl4pPr indent="-219451" algn="l" defTabSz="914377" rtl="0" eaLnBrk="1" latinLnBrk="0" hangingPunct="1">
              <a:lnSpc>
                <a:spcPct val="100000"/>
              </a:lnSpc>
              <a:spcBef>
                <a:spcPts val="0"/>
              </a:spcBef>
              <a:spcAft>
                <a:spcPts val="600"/>
              </a:spcAft>
              <a:buClr>
                <a:schemeClr val="accent1"/>
              </a:buClr>
              <a:buFont typeface="Arial" panose="020B0604020202020204" pitchFamily="34" charset="0"/>
              <a:defRPr lang="en-US" sz="1800" kern="1200" dirty="0" smtClean="0">
                <a:solidFill>
                  <a:schemeClr val="tx1"/>
                </a:solidFill>
                <a:latin typeface="+mn-lt"/>
                <a:ea typeface="+mn-ea"/>
                <a:cs typeface="+mn-cs"/>
              </a:defRPr>
            </a:lvl4pPr>
            <a:lvl5pPr indent="-219451" algn="l" defTabSz="914377" rtl="0" eaLnBrk="1" latinLnBrk="0" hangingPunct="1">
              <a:lnSpc>
                <a:spcPct val="100000"/>
              </a:lnSpc>
              <a:spcBef>
                <a:spcPts val="0"/>
              </a:spcBef>
              <a:spcAft>
                <a:spcPts val="600"/>
              </a:spcAft>
              <a:buFont typeface="Arial" panose="020B0604020202020204" pitchFamily="34" charset="0"/>
              <a:defRPr lang="en-US" sz="1800" kern="1200" dirty="0">
                <a:solidFill>
                  <a:schemeClr val="tx1"/>
                </a:solidFill>
                <a:latin typeface="+mn-lt"/>
                <a:ea typeface="+mn-ea"/>
                <a:cs typeface="+mn-cs"/>
              </a:defRPr>
            </a:lvl5pPr>
          </a:lstStyle>
          <a:p>
            <a:pPr lvl="0"/>
            <a:r>
              <a:rPr lang="en-US" dirty="0"/>
              <a:t>Main bullet. 18 pt. black.</a:t>
            </a:r>
          </a:p>
          <a:p>
            <a:pPr lvl="1"/>
            <a:r>
              <a:rPr lang="en-US" dirty="0"/>
              <a:t>Second level</a:t>
            </a:r>
          </a:p>
          <a:p>
            <a:pPr lvl="2"/>
            <a:r>
              <a:rPr lang="en-US" dirty="0"/>
              <a:t>Third level</a:t>
            </a:r>
          </a:p>
          <a:p>
            <a:pPr lvl="3"/>
            <a:r>
              <a:rPr lang="en-US" dirty="0"/>
              <a:t>Fourth level</a:t>
            </a:r>
          </a:p>
        </p:txBody>
      </p:sp>
      <p:sp>
        <p:nvSpPr>
          <p:cNvPr id="23"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15" name="Text Placeholder 2"/>
          <p:cNvSpPr>
            <a:spLocks noGrp="1"/>
          </p:cNvSpPr>
          <p:nvPr>
            <p:ph type="body" sz="quarter" idx="21" hasCustomPrompt="1"/>
          </p:nvPr>
        </p:nvSpPr>
        <p:spPr>
          <a:xfrm>
            <a:off x="6271501" y="1580535"/>
            <a:ext cx="5243843"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6" name="Text Placeholder 2"/>
          <p:cNvSpPr>
            <a:spLocks noGrp="1"/>
          </p:cNvSpPr>
          <p:nvPr>
            <p:ph type="body" sz="quarter" idx="25" hasCustomPrompt="1"/>
          </p:nvPr>
        </p:nvSpPr>
        <p:spPr>
          <a:xfrm>
            <a:off x="699757" y="1580535"/>
            <a:ext cx="5243843"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7" name="Text Placeholder 2"/>
          <p:cNvSpPr>
            <a:spLocks noGrp="1"/>
          </p:cNvSpPr>
          <p:nvPr>
            <p:ph type="body" sz="quarter" idx="26" hasCustomPrompt="1"/>
          </p:nvPr>
        </p:nvSpPr>
        <p:spPr>
          <a:xfrm>
            <a:off x="6271501" y="3714405"/>
            <a:ext cx="5243843"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8" name="Text Placeholder 2"/>
          <p:cNvSpPr>
            <a:spLocks noGrp="1"/>
          </p:cNvSpPr>
          <p:nvPr>
            <p:ph type="body" sz="quarter" idx="27" hasCustomPrompt="1"/>
          </p:nvPr>
        </p:nvSpPr>
        <p:spPr>
          <a:xfrm>
            <a:off x="699757" y="3714405"/>
            <a:ext cx="5243843" cy="341632"/>
          </a:xfrm>
          <a:noFill/>
        </p:spPr>
        <p:txBody>
          <a:bodyPr wrap="square" bIns="91440">
            <a:sp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chemeClr val="tx2"/>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19" name="Title 5"/>
          <p:cNvSpPr>
            <a:spLocks noGrp="1"/>
          </p:cNvSpPr>
          <p:nvPr>
            <p:ph type="title" hasCustomPrompt="1"/>
          </p:nvPr>
        </p:nvSpPr>
        <p:spPr>
          <a:xfrm>
            <a:off x="694944" y="514474"/>
            <a:ext cx="10811256" cy="676653"/>
          </a:xfrm>
          <a:prstGeom prst="rect">
            <a:avLst/>
          </a:prstGeom>
        </p:spPr>
        <p:txBody>
          <a:bodyPr/>
          <a:lstStyle>
            <a:lvl1pPr>
              <a:lnSpc>
                <a:spcPct val="80000"/>
              </a:lnSpc>
              <a:defRPr/>
            </a:lvl1pPr>
          </a:lstStyle>
          <a:p>
            <a:r>
              <a:rPr lang="en-US" dirty="0"/>
              <a:t>TITLE. 32 PT. BLACK. REGULAR. UPPERCASE. TWO LINES MAX.</a:t>
            </a:r>
          </a:p>
        </p:txBody>
      </p:sp>
      <p:sp>
        <p:nvSpPr>
          <p:cNvPr id="21" name="Takeaway bar"/>
          <p:cNvSpPr>
            <a:spLocks noGrp="1"/>
          </p:cNvSpPr>
          <p:nvPr>
            <p:ph type="body" sz="quarter" idx="15" hasCustomPrompt="1"/>
          </p:nvPr>
        </p:nvSpPr>
        <p:spPr>
          <a:xfrm>
            <a:off x="694946" y="5912569"/>
            <a:ext cx="10820399" cy="273280"/>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2" name="Footer Placeholder 1">
            <a:extLst>
              <a:ext uri="{FF2B5EF4-FFF2-40B4-BE49-F238E27FC236}">
                <a16:creationId xmlns:a16="http://schemas.microsoft.com/office/drawing/2014/main" id="{7B211ECA-3F10-BA4A-9903-326CCDC73263}"/>
              </a:ext>
            </a:extLst>
          </p:cNvPr>
          <p:cNvSpPr>
            <a:spLocks noGrp="1"/>
          </p:cNvSpPr>
          <p:nvPr>
            <p:ph type="ftr" sz="quarter" idx="28"/>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2799378937"/>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2_Collins Cover: Boeing 78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544F40-B15B-9347-A626-CCC3B42174A2}"/>
              </a:ext>
            </a:extLst>
          </p:cNvPr>
          <p:cNvPicPr>
            <a:picLocks noChangeAspect="1"/>
          </p:cNvPicPr>
          <p:nvPr userDrawn="1"/>
        </p:nvPicPr>
        <p:blipFill>
          <a:blip r:embed="rId2"/>
          <a:stretch>
            <a:fillRect/>
          </a:stretch>
        </p:blipFill>
        <p:spPr>
          <a:xfrm>
            <a:off x="0" y="4763"/>
            <a:ext cx="12192000" cy="5010151"/>
          </a:xfrm>
          <a:prstGeom prst="rect">
            <a:avLst/>
          </a:prstGeom>
        </p:spPr>
      </p:pic>
      <p:sp>
        <p:nvSpPr>
          <p:cNvPr id="2" name="Title"/>
          <p:cNvSpPr>
            <a:spLocks noGrp="1"/>
          </p:cNvSpPr>
          <p:nvPr>
            <p:ph type="title" hasCustomPrompt="1"/>
          </p:nvPr>
        </p:nvSpPr>
        <p:spPr>
          <a:xfrm>
            <a:off x="4257537" y="5297244"/>
            <a:ext cx="7105927" cy="566816"/>
          </a:xfrm>
          <a:noFill/>
        </p:spPr>
        <p:txBody>
          <a:bodyPr anchor="b" anchorCtr="0"/>
          <a:lstStyle>
            <a:lvl1pPr defTabSz="914377">
              <a:spcBef>
                <a:spcPct val="0"/>
              </a:spcBef>
              <a:defRPr sz="2200">
                <a:solidFill>
                  <a:schemeClr val="tx1"/>
                </a:solidFill>
              </a:defRPr>
            </a:lvl1pPr>
          </a:lstStyle>
          <a:p>
            <a:pPr lvl="0" defTabSz="914377">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7" y="6041042"/>
            <a:ext cx="7105927" cy="216671"/>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9" y="247663"/>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1" y="6391833"/>
            <a:ext cx="2312452" cy="216671"/>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8" name="Graphic 7">
            <a:extLst>
              <a:ext uri="{FF2B5EF4-FFF2-40B4-BE49-F238E27FC236}">
                <a16:creationId xmlns:a16="http://schemas.microsoft.com/office/drawing/2014/main" id="{12ADE7C4-C9D6-C340-9D31-184D270C184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7" y="5526827"/>
            <a:ext cx="3071203" cy="514215"/>
          </a:xfrm>
          <a:prstGeom prst="rect">
            <a:avLst/>
          </a:prstGeom>
        </p:spPr>
      </p:pic>
      <p:sp>
        <p:nvSpPr>
          <p:cNvPr id="3" name="Footer Placeholder 2">
            <a:extLst>
              <a:ext uri="{FF2B5EF4-FFF2-40B4-BE49-F238E27FC236}">
                <a16:creationId xmlns:a16="http://schemas.microsoft.com/office/drawing/2014/main" id="{9E57AB0E-0F4E-1947-B8B6-7C262AFC57BD}"/>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766016867"/>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2477348246"/>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Collins Section Break">
    <p:spTree>
      <p:nvGrpSpPr>
        <p:cNvPr id="1" name=""/>
        <p:cNvGrpSpPr/>
        <p:nvPr/>
      </p:nvGrpSpPr>
      <p:grpSpPr>
        <a:xfrm>
          <a:off x="0" y="0"/>
          <a:ext cx="0" cy="0"/>
          <a:chOff x="0" y="0"/>
          <a:chExt cx="0" cy="0"/>
        </a:xfrm>
      </p:grpSpPr>
      <p:sp>
        <p:nvSpPr>
          <p:cNvPr id="9"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Presenters"/>
          <p:cNvSpPr>
            <a:spLocks noGrp="1"/>
          </p:cNvSpPr>
          <p:nvPr>
            <p:ph type="body" sz="quarter" idx="13" hasCustomPrompt="1"/>
          </p:nvPr>
        </p:nvSpPr>
        <p:spPr>
          <a:xfrm>
            <a:off x="694944" y="5387547"/>
            <a:ext cx="8980931" cy="380208"/>
          </a:xfrm>
          <a:noFill/>
        </p:spPr>
        <p:txBody>
          <a:bodyPr vert="horz" lIns="0" tIns="0" rIns="0" bIns="0" rtlCol="0" anchor="b" anchorCtr="0">
            <a:noAutofit/>
          </a:bodyPr>
          <a:lstStyle>
            <a:lvl1pPr marL="0" marR="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914377"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Sentence case.</a:t>
            </a:r>
          </a:p>
        </p:txBody>
      </p:sp>
      <p:sp>
        <p:nvSpPr>
          <p:cNvPr id="5" name="Freeform 4">
            <a:extLst>
              <a:ext uri="{FF2B5EF4-FFF2-40B4-BE49-F238E27FC236}">
                <a16:creationId xmlns:a16="http://schemas.microsoft.com/office/drawing/2014/main" id="{007B205E-F640-7242-8F99-8DBCDE90BFA9}"/>
              </a:ext>
            </a:extLst>
          </p:cNvPr>
          <p:cNvSpPr/>
          <p:nvPr userDrawn="1"/>
        </p:nvSpPr>
        <p:spPr>
          <a:xfrm>
            <a:off x="358347" y="345297"/>
            <a:ext cx="11479427" cy="5598305"/>
          </a:xfrm>
          <a:custGeom>
            <a:avLst/>
            <a:gdLst>
              <a:gd name="connsiteX0" fmla="*/ 385314 w 8620665"/>
              <a:gd name="connsiteY0" fmla="*/ 0 h 4014159"/>
              <a:gd name="connsiteX1" fmla="*/ 8620665 w 8620665"/>
              <a:gd name="connsiteY1" fmla="*/ 0 h 4014159"/>
              <a:gd name="connsiteX2" fmla="*/ 8620665 w 8620665"/>
              <a:gd name="connsiteY2" fmla="*/ 4014159 h 4014159"/>
              <a:gd name="connsiteX3" fmla="*/ 0 w 8620665"/>
              <a:gd name="connsiteY3" fmla="*/ 4014159 h 4014159"/>
              <a:gd name="connsiteX4" fmla="*/ 0 w 8620665"/>
              <a:gd name="connsiteY4" fmla="*/ 408317 h 4014159"/>
              <a:gd name="connsiteX0" fmla="*/ 304632 w 8620665"/>
              <a:gd name="connsiteY0" fmla="*/ 8965 h 4014159"/>
              <a:gd name="connsiteX1" fmla="*/ 8620665 w 8620665"/>
              <a:gd name="connsiteY1" fmla="*/ 0 h 4014159"/>
              <a:gd name="connsiteX2" fmla="*/ 8620665 w 8620665"/>
              <a:gd name="connsiteY2" fmla="*/ 4014159 h 4014159"/>
              <a:gd name="connsiteX3" fmla="*/ 0 w 8620665"/>
              <a:gd name="connsiteY3" fmla="*/ 4014159 h 4014159"/>
              <a:gd name="connsiteX4" fmla="*/ 0 w 8620665"/>
              <a:gd name="connsiteY4" fmla="*/ 408317 h 401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0665" h="4014159">
                <a:moveTo>
                  <a:pt x="304632" y="8965"/>
                </a:moveTo>
                <a:lnTo>
                  <a:pt x="8620665" y="0"/>
                </a:lnTo>
                <a:lnTo>
                  <a:pt x="8620665" y="4014159"/>
                </a:lnTo>
                <a:lnTo>
                  <a:pt x="0" y="4014159"/>
                </a:lnTo>
                <a:lnTo>
                  <a:pt x="0" y="408317"/>
                </a:lnTo>
              </a:path>
            </a:pathLst>
          </a:custGeom>
          <a:noFill/>
          <a:ln w="19050">
            <a:solidFill>
              <a:srgbClr val="CE1126"/>
            </a:solidFill>
            <a:headEnd type="oval"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8" name="Section title">
            <a:extLst>
              <a:ext uri="{FF2B5EF4-FFF2-40B4-BE49-F238E27FC236}">
                <a16:creationId xmlns:a16="http://schemas.microsoft.com/office/drawing/2014/main" id="{FB96A9C0-602E-4E40-BB2F-1E0A929E9E44}"/>
              </a:ext>
            </a:extLst>
          </p:cNvPr>
          <p:cNvSpPr>
            <a:spLocks noGrp="1"/>
          </p:cNvSpPr>
          <p:nvPr>
            <p:ph type="title" hasCustomPrompt="1"/>
          </p:nvPr>
        </p:nvSpPr>
        <p:spPr>
          <a:xfrm>
            <a:off x="694945" y="2854413"/>
            <a:ext cx="8980931" cy="2533135"/>
          </a:xfrm>
          <a:noFill/>
        </p:spPr>
        <p:txBody>
          <a:bodyPr vert="horz" wrap="square" lIns="0" tIns="0" rIns="0" bIns="0" rtlCol="0" anchor="b" anchorCtr="0">
            <a:noAutofit/>
          </a:bodyPr>
          <a:lstStyle>
            <a:lvl1pPr>
              <a:defRPr lang="en-US" sz="4500" b="0" cap="all" baseline="0" dirty="0">
                <a:latin typeface="Arial" panose="020B0604020202020204" pitchFamily="34" charset="0"/>
                <a:ea typeface="+mn-ea"/>
                <a:cs typeface="Arial" panose="020B0604020202020204" pitchFamily="34" charset="0"/>
              </a:defRPr>
            </a:lvl1pPr>
          </a:lstStyle>
          <a:p>
            <a:pPr marL="0" lvl="0">
              <a:spcBef>
                <a:spcPts val="1000"/>
              </a:spcBef>
              <a:buSzPct val="115000"/>
              <a:buFont typeface="Arial" panose="020B0604020202020204" pitchFamily="34" charset="0"/>
            </a:pPr>
            <a:r>
              <a:rPr lang="en-US" dirty="0"/>
              <a:t>SECTION TITLE. 45 PT. BLACK. REGULAR. UPPERCASE</a:t>
            </a:r>
          </a:p>
        </p:txBody>
      </p:sp>
      <p:sp>
        <p:nvSpPr>
          <p:cNvPr id="2" name="Footer Placeholder 1">
            <a:extLst>
              <a:ext uri="{FF2B5EF4-FFF2-40B4-BE49-F238E27FC236}">
                <a16:creationId xmlns:a16="http://schemas.microsoft.com/office/drawing/2014/main" id="{A31D75C1-9F8C-0245-BAA7-15A97DC4E16F}"/>
              </a:ext>
            </a:extLst>
          </p:cNvPr>
          <p:cNvSpPr>
            <a:spLocks noGrp="1"/>
          </p:cNvSpPr>
          <p:nvPr>
            <p:ph type="ftr" sz="quarter" idx="14"/>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588749704"/>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Collins Cover: UH-60 Blackhaw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D93502-0A19-3C4D-8E40-85252E84B68F}"/>
              </a:ext>
            </a:extLst>
          </p:cNvPr>
          <p:cNvPicPr>
            <a:picLocks noChangeAspect="1"/>
          </p:cNvPicPr>
          <p:nvPr userDrawn="1"/>
        </p:nvPicPr>
        <p:blipFill>
          <a:blip r:embed="rId2"/>
          <a:stretch>
            <a:fillRect/>
          </a:stretch>
        </p:blipFill>
        <p:spPr>
          <a:xfrm>
            <a:off x="0" y="1"/>
            <a:ext cx="12192000" cy="5010151"/>
          </a:xfrm>
          <a:prstGeom prst="rect">
            <a:avLst/>
          </a:prstGeom>
        </p:spPr>
      </p:pic>
      <p:sp>
        <p:nvSpPr>
          <p:cNvPr id="2" name="Title"/>
          <p:cNvSpPr>
            <a:spLocks noGrp="1"/>
          </p:cNvSpPr>
          <p:nvPr>
            <p:ph type="title" hasCustomPrompt="1"/>
          </p:nvPr>
        </p:nvSpPr>
        <p:spPr>
          <a:xfrm>
            <a:off x="4257537" y="5297244"/>
            <a:ext cx="7105927" cy="566816"/>
          </a:xfrm>
          <a:noFill/>
        </p:spPr>
        <p:txBody>
          <a:bodyPr anchor="b" anchorCtr="0"/>
          <a:lstStyle>
            <a:lvl1pPr defTabSz="914377">
              <a:spcBef>
                <a:spcPct val="0"/>
              </a:spcBef>
              <a:defRPr sz="2200">
                <a:solidFill>
                  <a:schemeClr val="tx1"/>
                </a:solidFill>
              </a:defRPr>
            </a:lvl1pPr>
          </a:lstStyle>
          <a:p>
            <a:pPr lvl="0" defTabSz="914377">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7" y="6041042"/>
            <a:ext cx="7105927" cy="216671"/>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9" y="247663"/>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1" y="6391833"/>
            <a:ext cx="2312452" cy="216671"/>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pic>
        <p:nvPicPr>
          <p:cNvPr id="10" name="Graphic 9">
            <a:extLst>
              <a:ext uri="{FF2B5EF4-FFF2-40B4-BE49-F238E27FC236}">
                <a16:creationId xmlns:a16="http://schemas.microsoft.com/office/drawing/2014/main" id="{A787AB98-5F2A-FF41-A513-9AE47180BD8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72097" y="5526827"/>
            <a:ext cx="3071203" cy="514215"/>
          </a:xfrm>
          <a:prstGeom prst="rect">
            <a:avLst/>
          </a:prstGeom>
        </p:spPr>
      </p:pic>
      <p:sp>
        <p:nvSpPr>
          <p:cNvPr id="3" name="Footer Placeholder 2">
            <a:extLst>
              <a:ext uri="{FF2B5EF4-FFF2-40B4-BE49-F238E27FC236}">
                <a16:creationId xmlns:a16="http://schemas.microsoft.com/office/drawing/2014/main" id="{2F5A6B71-801B-4548-95BF-EFDC7CD73175}"/>
              </a:ext>
            </a:extLst>
          </p:cNvPr>
          <p:cNvSpPr>
            <a:spLocks noGrp="1"/>
          </p:cNvSpPr>
          <p:nvPr>
            <p:ph type="ftr" sz="quarter" idx="16"/>
          </p:nvPr>
        </p:nvSpPr>
        <p:spPr/>
        <p:txBody>
          <a:body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631271346"/>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 Column">
    <p:spTree>
      <p:nvGrpSpPr>
        <p:cNvPr id="1" name=""/>
        <p:cNvGrpSpPr/>
        <p:nvPr/>
      </p:nvGrpSpPr>
      <p:grpSpPr>
        <a:xfrm>
          <a:off x="0" y="0"/>
          <a:ext cx="0" cy="0"/>
          <a:chOff x="0" y="0"/>
          <a:chExt cx="0" cy="0"/>
        </a:xfrm>
      </p:grpSpPr>
      <p:sp>
        <p:nvSpPr>
          <p:cNvPr id="5" name="Slide Number Placeholder 3"/>
          <p:cNvSpPr>
            <a:spLocks noGrp="1"/>
          </p:cNvSpPr>
          <p:nvPr>
            <p:ph type="sldNum" sz="quarter" idx="4"/>
          </p:nvPr>
        </p:nvSpPr>
        <p:spPr>
          <a:xfrm>
            <a:off x="11033730" y="6431998"/>
            <a:ext cx="559204" cy="358601"/>
          </a:xfrm>
          <a:prstGeom prst="rect">
            <a:avLst/>
          </a:prstGeom>
        </p:spPr>
        <p:txBody>
          <a:bodyPr/>
          <a:lstStyle>
            <a:lvl1pPr>
              <a:defRPr sz="1125">
                <a:solidFill>
                  <a:schemeClr val="accent5">
                    <a:lumMod val="50000"/>
                  </a:schemeClr>
                </a:solidFill>
              </a:defRPr>
            </a:lvl1pPr>
          </a:lstStyle>
          <a:p>
            <a:fld id="{AC2BBF5C-F99E-D345-8BF5-120D837414FF}" type="slidenum">
              <a:rPr lang="en-US" smtClean="0"/>
              <a:pPr/>
              <a:t>‹#›</a:t>
            </a:fld>
            <a:endParaRPr lang="en-US" dirty="0"/>
          </a:p>
        </p:txBody>
      </p:sp>
    </p:spTree>
    <p:extLst>
      <p:ext uri="{BB962C8B-B14F-4D97-AF65-F5344CB8AC3E}">
        <p14:creationId xmlns:p14="http://schemas.microsoft.com/office/powerpoint/2010/main" val="501059249"/>
      </p:ext>
    </p:extLst>
  </p:cSld>
  <p:clrMapOvr>
    <a:masterClrMapping/>
  </p:clrMapOvr>
  <p:extLst>
    <p:ext uri="{DCECCB84-F9BA-43D5-87BE-67443E8EF086}">
      <p15:sldGuideLst xmlns:p15="http://schemas.microsoft.com/office/powerpoint/2012/main">
        <p15:guide id="1" pos="2122">
          <p15:clr>
            <a:srgbClr val="FBAE40"/>
          </p15:clr>
        </p15:guide>
        <p15:guide id="2" pos="4042">
          <p15:clr>
            <a:srgbClr val="FBAE40"/>
          </p15:clr>
        </p15:guide>
        <p15:guide id="3" pos="2074">
          <p15:clr>
            <a:srgbClr val="FBAE40"/>
          </p15:clr>
        </p15:guide>
        <p15:guide id="4" pos="2170">
          <p15:clr>
            <a:srgbClr val="FBAE40"/>
          </p15:clr>
        </p15:guide>
        <p15:guide id="5" pos="3994">
          <p15:clr>
            <a:srgbClr val="FBAE40"/>
          </p15:clr>
        </p15:guide>
        <p15:guide id="6" pos="409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3782770501"/>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4639"/>
            <a:ext cx="10972800" cy="1143000"/>
          </a:xfrm>
          <a:prstGeom prst="rect">
            <a:avLst/>
          </a:prstGeom>
        </p:spPr>
        <p:txBody>
          <a:bodyPr/>
          <a:lstStyle>
            <a:lvl1pPr>
              <a:defRPr/>
            </a:lvl1pPr>
          </a:lstStyle>
          <a:p>
            <a:r>
              <a:rPr lang="en-US" dirty="0"/>
              <a:t>Click to edit Master title style</a:t>
            </a:r>
          </a:p>
        </p:txBody>
      </p:sp>
      <p:sp>
        <p:nvSpPr>
          <p:cNvPr id="3" name="Text Placeholder 2"/>
          <p:cNvSpPr>
            <a:spLocks noGrp="1"/>
          </p:cNvSpPr>
          <p:nvPr>
            <p:ph type="body" idx="1"/>
          </p:nvPr>
        </p:nvSpPr>
        <p:spPr>
          <a:xfrm>
            <a:off x="609601" y="1535114"/>
            <a:ext cx="5386917"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4" name="Content Placeholder 3"/>
          <p:cNvSpPr>
            <a:spLocks noGrp="1"/>
          </p:cNvSpPr>
          <p:nvPr>
            <p:ph sz="half" idx="2"/>
          </p:nvPr>
        </p:nvSpPr>
        <p:spPr>
          <a:xfrm>
            <a:off x="609601" y="2174875"/>
            <a:ext cx="5386917" cy="3013971"/>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4"/>
            <a:ext cx="5389033" cy="639763"/>
          </a:xfrm>
          <a:prstGeom prst="rect">
            <a:avLst/>
          </a:prstGeom>
        </p:spPr>
        <p:txBody>
          <a:bodyPr anchor="b"/>
          <a:lstStyle>
            <a:lvl1pPr marL="0" indent="0">
              <a:buNone/>
              <a:defRPr sz="2552" b="1"/>
            </a:lvl1pPr>
            <a:lvl2pPr marL="495376" indent="0">
              <a:buNone/>
              <a:defRPr sz="2188" b="1"/>
            </a:lvl2pPr>
            <a:lvl3pPr marL="990751" indent="0">
              <a:buNone/>
              <a:defRPr sz="1945" b="1"/>
            </a:lvl3pPr>
            <a:lvl4pPr marL="1486128" indent="0">
              <a:buNone/>
              <a:defRPr sz="1701" b="1"/>
            </a:lvl4pPr>
            <a:lvl5pPr marL="1981504" indent="0">
              <a:buNone/>
              <a:defRPr sz="1701" b="1"/>
            </a:lvl5pPr>
            <a:lvl6pPr marL="2476880" indent="0">
              <a:buNone/>
              <a:defRPr sz="1701" b="1"/>
            </a:lvl6pPr>
            <a:lvl7pPr marL="2972255" indent="0">
              <a:buNone/>
              <a:defRPr sz="1701" b="1"/>
            </a:lvl7pPr>
            <a:lvl8pPr marL="3467633" indent="0">
              <a:buNone/>
              <a:defRPr sz="1701" b="1"/>
            </a:lvl8pPr>
            <a:lvl9pPr marL="3963009" indent="0">
              <a:buNone/>
              <a:defRPr sz="1701" b="1"/>
            </a:lvl9pPr>
          </a:lstStyle>
          <a:p>
            <a:pPr lvl="0"/>
            <a:r>
              <a:rPr lang="en-US" dirty="0"/>
              <a:t>Click to edit Master text styles</a:t>
            </a:r>
          </a:p>
        </p:txBody>
      </p:sp>
      <p:sp>
        <p:nvSpPr>
          <p:cNvPr id="6" name="Content Placeholder 5"/>
          <p:cNvSpPr>
            <a:spLocks noGrp="1"/>
          </p:cNvSpPr>
          <p:nvPr>
            <p:ph sz="quarter" idx="4"/>
          </p:nvPr>
        </p:nvSpPr>
        <p:spPr>
          <a:xfrm>
            <a:off x="6193368" y="2174874"/>
            <a:ext cx="5389033" cy="2921349"/>
          </a:xfrm>
          <a:prstGeom prst="rect">
            <a:avLst/>
          </a:prstGeom>
        </p:spPr>
        <p:txBody>
          <a:bodyPr/>
          <a:lstStyle>
            <a:lvl1pPr>
              <a:defRPr sz="2552"/>
            </a:lvl1pPr>
            <a:lvl2pPr>
              <a:defRPr sz="2188"/>
            </a:lvl2pPr>
            <a:lvl3pPr>
              <a:defRPr sz="1945"/>
            </a:lvl3pPr>
            <a:lvl4pPr>
              <a:defRPr sz="1701"/>
            </a:lvl4pPr>
            <a:lvl5pPr>
              <a:defRPr sz="1701"/>
            </a:lvl5pPr>
            <a:lvl6pPr>
              <a:defRPr sz="1701"/>
            </a:lvl6pPr>
            <a:lvl7pPr>
              <a:defRPr sz="1701"/>
            </a:lvl7pPr>
            <a:lvl8pPr>
              <a:defRPr sz="1701"/>
            </a:lvl8pPr>
            <a:lvl9pPr>
              <a:defRPr sz="1701"/>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a:xfrm>
            <a:off x="4049037" y="5466718"/>
            <a:ext cx="3860800" cy="244475"/>
          </a:xfrm>
          <a:prstGeom prst="rect">
            <a:avLst/>
          </a:prstGeom>
          <a:ln/>
        </p:spPr>
        <p:txBody>
          <a:bodyPr/>
          <a:lstStyle>
            <a:lvl1pPr>
              <a:defRPr/>
            </a:lvl1pPr>
          </a:lstStyle>
          <a:p>
            <a:pPr>
              <a:defRPr/>
            </a:pPr>
            <a:endParaRPr lang="en-US" dirty="0"/>
          </a:p>
        </p:txBody>
      </p:sp>
    </p:spTree>
    <p:extLst>
      <p:ext uri="{BB962C8B-B14F-4D97-AF65-F5344CB8AC3E}">
        <p14:creationId xmlns:p14="http://schemas.microsoft.com/office/powerpoint/2010/main" val="75209933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Collins Cover: Military - C-130H">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4BFDA5F-0D24-CF41-8117-AC1C5A13E31B}"/>
              </a:ext>
            </a:extLst>
          </p:cNvPr>
          <p:cNvPicPr>
            <a:picLocks noChangeAspect="1"/>
          </p:cNvPicPr>
          <p:nvPr userDrawn="1"/>
        </p:nvPicPr>
        <p:blipFill>
          <a:blip r:embed="rId2"/>
          <a:stretch>
            <a:fillRect/>
          </a:stretch>
        </p:blipFill>
        <p:spPr>
          <a:xfrm>
            <a:off x="0" y="0"/>
            <a:ext cx="12192000" cy="685800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sp>
        <p:nvSpPr>
          <p:cNvPr id="9" name="Logo">
            <a:extLst>
              <a:ext uri="{FF2B5EF4-FFF2-40B4-BE49-F238E27FC236}">
                <a16:creationId xmlns:a16="http://schemas.microsoft.com/office/drawing/2014/main" id="{FB6B4263-0223-C444-A148-BC527D99CBD1}"/>
              </a:ext>
            </a:extLst>
          </p:cNvPr>
          <p:cNvSpPr>
            <a:spLocks noChangeAspect="1" noEditPoints="1"/>
          </p:cNvSpPr>
          <p:nvPr userDrawn="1"/>
        </p:nvSpPr>
        <p:spPr bwMode="auto">
          <a:xfrm>
            <a:off x="472097" y="5520829"/>
            <a:ext cx="3071203" cy="520212"/>
          </a:xfrm>
          <a:custGeom>
            <a:avLst/>
            <a:gdLst>
              <a:gd name="T0" fmla="*/ 1871 w 1887"/>
              <a:gd name="T1" fmla="*/ 204 h 319"/>
              <a:gd name="T2" fmla="*/ 1811 w 1887"/>
              <a:gd name="T3" fmla="*/ 126 h 319"/>
              <a:gd name="T4" fmla="*/ 1886 w 1887"/>
              <a:gd name="T5" fmla="*/ 168 h 319"/>
              <a:gd name="T6" fmla="*/ 1779 w 1887"/>
              <a:gd name="T7" fmla="*/ 204 h 319"/>
              <a:gd name="T8" fmla="*/ 1728 w 1887"/>
              <a:gd name="T9" fmla="*/ 126 h 319"/>
              <a:gd name="T10" fmla="*/ 1751 w 1887"/>
              <a:gd name="T11" fmla="*/ 146 h 319"/>
              <a:gd name="T12" fmla="*/ 1656 w 1887"/>
              <a:gd name="T13" fmla="*/ 179 h 319"/>
              <a:gd name="T14" fmla="*/ 1643 w 1887"/>
              <a:gd name="T15" fmla="*/ 174 h 319"/>
              <a:gd name="T16" fmla="*/ 1611 w 1887"/>
              <a:gd name="T17" fmla="*/ 141 h 319"/>
              <a:gd name="T18" fmla="*/ 1703 w 1887"/>
              <a:gd name="T19" fmla="*/ 115 h 319"/>
              <a:gd name="T20" fmla="*/ 1562 w 1887"/>
              <a:gd name="T21" fmla="*/ 174 h 319"/>
              <a:gd name="T22" fmla="*/ 1549 w 1887"/>
              <a:gd name="T23" fmla="*/ 179 h 319"/>
              <a:gd name="T24" fmla="*/ 1587 w 1887"/>
              <a:gd name="T25" fmla="*/ 126 h 319"/>
              <a:gd name="T26" fmla="*/ 1543 w 1887"/>
              <a:gd name="T27" fmla="*/ 204 h 319"/>
              <a:gd name="T28" fmla="*/ 1448 w 1887"/>
              <a:gd name="T29" fmla="*/ 145 h 319"/>
              <a:gd name="T30" fmla="*/ 1414 w 1887"/>
              <a:gd name="T31" fmla="*/ 198 h 319"/>
              <a:gd name="T32" fmla="*/ 1452 w 1887"/>
              <a:gd name="T33" fmla="*/ 173 h 319"/>
              <a:gd name="T34" fmla="*/ 1453 w 1887"/>
              <a:gd name="T35" fmla="*/ 113 h 319"/>
              <a:gd name="T36" fmla="*/ 1370 w 1887"/>
              <a:gd name="T37" fmla="*/ 175 h 319"/>
              <a:gd name="T38" fmla="*/ 1356 w 1887"/>
              <a:gd name="T39" fmla="*/ 181 h 319"/>
              <a:gd name="T40" fmla="*/ 1321 w 1887"/>
              <a:gd name="T41" fmla="*/ 126 h 319"/>
              <a:gd name="T42" fmla="*/ 1401 w 1887"/>
              <a:gd name="T43" fmla="*/ 178 h 319"/>
              <a:gd name="T44" fmla="*/ 1278 w 1887"/>
              <a:gd name="T45" fmla="*/ 118 h 319"/>
              <a:gd name="T46" fmla="*/ 1270 w 1887"/>
              <a:gd name="T47" fmla="*/ 204 h 319"/>
              <a:gd name="T48" fmla="*/ 1195 w 1887"/>
              <a:gd name="T49" fmla="*/ 150 h 319"/>
              <a:gd name="T50" fmla="*/ 1134 w 1887"/>
              <a:gd name="T51" fmla="*/ 160 h 319"/>
              <a:gd name="T52" fmla="*/ 1221 w 1887"/>
              <a:gd name="T53" fmla="*/ 138 h 319"/>
              <a:gd name="T54" fmla="*/ 1224 w 1887"/>
              <a:gd name="T55" fmla="*/ 197 h 319"/>
              <a:gd name="T56" fmla="*/ 1133 w 1887"/>
              <a:gd name="T57" fmla="*/ 204 h 319"/>
              <a:gd name="T58" fmla="*/ 921 w 1887"/>
              <a:gd name="T59" fmla="*/ 135 h 319"/>
              <a:gd name="T60" fmla="*/ 915 w 1887"/>
              <a:gd name="T61" fmla="*/ 207 h 319"/>
              <a:gd name="T62" fmla="*/ 924 w 1887"/>
              <a:gd name="T63" fmla="*/ 176 h 319"/>
              <a:gd name="T64" fmla="*/ 881 w 1887"/>
              <a:gd name="T65" fmla="*/ 141 h 319"/>
              <a:gd name="T66" fmla="*/ 921 w 1887"/>
              <a:gd name="T67" fmla="*/ 135 h 319"/>
              <a:gd name="T68" fmla="*/ 866 w 1887"/>
              <a:gd name="T69" fmla="*/ 150 h 319"/>
              <a:gd name="T70" fmla="*/ 810 w 1887"/>
              <a:gd name="T71" fmla="*/ 204 h 319"/>
              <a:gd name="T72" fmla="*/ 729 w 1887"/>
              <a:gd name="T73" fmla="*/ 115 h 319"/>
              <a:gd name="T74" fmla="*/ 762 w 1887"/>
              <a:gd name="T75" fmla="*/ 85 h 319"/>
              <a:gd name="T76" fmla="*/ 676 w 1887"/>
              <a:gd name="T77" fmla="*/ 73 h 319"/>
              <a:gd name="T78" fmla="*/ 578 w 1887"/>
              <a:gd name="T79" fmla="*/ 175 h 319"/>
              <a:gd name="T80" fmla="*/ 564 w 1887"/>
              <a:gd name="T81" fmla="*/ 181 h 319"/>
              <a:gd name="T82" fmla="*/ 529 w 1887"/>
              <a:gd name="T83" fmla="*/ 125 h 319"/>
              <a:gd name="T84" fmla="*/ 609 w 1887"/>
              <a:gd name="T85" fmla="*/ 178 h 319"/>
              <a:gd name="T86" fmla="*/ 432 w 1887"/>
              <a:gd name="T87" fmla="*/ 201 h 319"/>
              <a:gd name="T88" fmla="*/ 464 w 1887"/>
              <a:gd name="T89" fmla="*/ 72 h 319"/>
              <a:gd name="T90" fmla="*/ 480 w 1887"/>
              <a:gd name="T91" fmla="*/ 104 h 319"/>
              <a:gd name="T92" fmla="*/ 449 w 1887"/>
              <a:gd name="T93" fmla="*/ 173 h 319"/>
              <a:gd name="T94" fmla="*/ 154 w 1887"/>
              <a:gd name="T95" fmla="*/ 95 h 319"/>
              <a:gd name="T96" fmla="*/ 122 w 1887"/>
              <a:gd name="T97" fmla="*/ 107 h 319"/>
              <a:gd name="T98" fmla="*/ 95 w 1887"/>
              <a:gd name="T99" fmla="*/ 160 h 319"/>
              <a:gd name="T100" fmla="*/ 30 w 1887"/>
              <a:gd name="T101" fmla="*/ 253 h 319"/>
              <a:gd name="T102" fmla="*/ 146 w 1887"/>
              <a:gd name="T103" fmla="*/ 319 h 319"/>
              <a:gd name="T104" fmla="*/ 220 w 1887"/>
              <a:gd name="T105" fmla="*/ 231 h 319"/>
              <a:gd name="T106" fmla="*/ 318 w 1887"/>
              <a:gd name="T107" fmla="*/ 177 h 319"/>
              <a:gd name="T108" fmla="*/ 13 w 1887"/>
              <a:gd name="T109" fmla="*/ 96 h 319"/>
              <a:gd name="T110" fmla="*/ 280 w 1887"/>
              <a:gd name="T111" fmla="*/ 54 h 319"/>
              <a:gd name="T112" fmla="*/ 42 w 1887"/>
              <a:gd name="T113" fmla="*/ 50 h 319"/>
              <a:gd name="T114" fmla="*/ 183 w 1887"/>
              <a:gd name="T115" fmla="*/ 0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7" h="319">
                <a:moveTo>
                  <a:pt x="1859" y="150"/>
                </a:moveTo>
                <a:cubicBezTo>
                  <a:pt x="1858" y="145"/>
                  <a:pt x="1856" y="142"/>
                  <a:pt x="1854" y="139"/>
                </a:cubicBezTo>
                <a:cubicBezTo>
                  <a:pt x="1851" y="136"/>
                  <a:pt x="1848" y="135"/>
                  <a:pt x="1844" y="135"/>
                </a:cubicBezTo>
                <a:cubicBezTo>
                  <a:pt x="1835" y="135"/>
                  <a:pt x="1830" y="140"/>
                  <a:pt x="1828" y="150"/>
                </a:cubicBezTo>
                <a:lnTo>
                  <a:pt x="1859" y="150"/>
                </a:lnTo>
                <a:close/>
                <a:moveTo>
                  <a:pt x="1887" y="197"/>
                </a:moveTo>
                <a:cubicBezTo>
                  <a:pt x="1883" y="200"/>
                  <a:pt x="1877" y="203"/>
                  <a:pt x="1871" y="204"/>
                </a:cubicBezTo>
                <a:cubicBezTo>
                  <a:pt x="1865" y="206"/>
                  <a:pt x="1858" y="207"/>
                  <a:pt x="1851" y="207"/>
                </a:cubicBezTo>
                <a:cubicBezTo>
                  <a:pt x="1843" y="207"/>
                  <a:pt x="1835" y="206"/>
                  <a:pt x="1829" y="203"/>
                </a:cubicBezTo>
                <a:cubicBezTo>
                  <a:pt x="1822" y="201"/>
                  <a:pt x="1817" y="198"/>
                  <a:pt x="1812" y="194"/>
                </a:cubicBezTo>
                <a:cubicBezTo>
                  <a:pt x="1807" y="190"/>
                  <a:pt x="1804" y="185"/>
                  <a:pt x="1801" y="179"/>
                </a:cubicBezTo>
                <a:cubicBezTo>
                  <a:pt x="1799" y="173"/>
                  <a:pt x="1798" y="167"/>
                  <a:pt x="1798" y="160"/>
                </a:cubicBezTo>
                <a:cubicBezTo>
                  <a:pt x="1798" y="153"/>
                  <a:pt x="1799" y="146"/>
                  <a:pt x="1801" y="141"/>
                </a:cubicBezTo>
                <a:cubicBezTo>
                  <a:pt x="1803" y="135"/>
                  <a:pt x="1806" y="130"/>
                  <a:pt x="1811" y="126"/>
                </a:cubicBezTo>
                <a:cubicBezTo>
                  <a:pt x="1815" y="122"/>
                  <a:pt x="1820" y="118"/>
                  <a:pt x="1825" y="116"/>
                </a:cubicBezTo>
                <a:cubicBezTo>
                  <a:pt x="1831" y="114"/>
                  <a:pt x="1837" y="113"/>
                  <a:pt x="1844" y="113"/>
                </a:cubicBezTo>
                <a:cubicBezTo>
                  <a:pt x="1851" y="113"/>
                  <a:pt x="1857" y="114"/>
                  <a:pt x="1862" y="116"/>
                </a:cubicBezTo>
                <a:cubicBezTo>
                  <a:pt x="1867" y="118"/>
                  <a:pt x="1872" y="121"/>
                  <a:pt x="1876" y="125"/>
                </a:cubicBezTo>
                <a:cubicBezTo>
                  <a:pt x="1880" y="128"/>
                  <a:pt x="1882" y="133"/>
                  <a:pt x="1884" y="138"/>
                </a:cubicBezTo>
                <a:cubicBezTo>
                  <a:pt x="1886" y="144"/>
                  <a:pt x="1887" y="150"/>
                  <a:pt x="1887" y="157"/>
                </a:cubicBezTo>
                <a:cubicBezTo>
                  <a:pt x="1887" y="161"/>
                  <a:pt x="1887" y="165"/>
                  <a:pt x="1886" y="168"/>
                </a:cubicBezTo>
                <a:cubicBezTo>
                  <a:pt x="1828" y="168"/>
                  <a:pt x="1828" y="168"/>
                  <a:pt x="1828" y="168"/>
                </a:cubicBezTo>
                <a:cubicBezTo>
                  <a:pt x="1831" y="178"/>
                  <a:pt x="1840" y="183"/>
                  <a:pt x="1854" y="183"/>
                </a:cubicBezTo>
                <a:cubicBezTo>
                  <a:pt x="1858" y="183"/>
                  <a:pt x="1862" y="182"/>
                  <a:pt x="1866" y="181"/>
                </a:cubicBezTo>
                <a:cubicBezTo>
                  <a:pt x="1870" y="180"/>
                  <a:pt x="1874" y="179"/>
                  <a:pt x="1877" y="178"/>
                </a:cubicBezTo>
                <a:lnTo>
                  <a:pt x="1887" y="197"/>
                </a:lnTo>
                <a:close/>
                <a:moveTo>
                  <a:pt x="1794" y="198"/>
                </a:moveTo>
                <a:cubicBezTo>
                  <a:pt x="1790" y="201"/>
                  <a:pt x="1785" y="203"/>
                  <a:pt x="1779" y="204"/>
                </a:cubicBezTo>
                <a:cubicBezTo>
                  <a:pt x="1774" y="206"/>
                  <a:pt x="1769" y="206"/>
                  <a:pt x="1763" y="206"/>
                </a:cubicBezTo>
                <a:cubicBezTo>
                  <a:pt x="1755" y="206"/>
                  <a:pt x="1748" y="205"/>
                  <a:pt x="1742" y="203"/>
                </a:cubicBezTo>
                <a:cubicBezTo>
                  <a:pt x="1736" y="201"/>
                  <a:pt x="1731" y="198"/>
                  <a:pt x="1727" y="194"/>
                </a:cubicBezTo>
                <a:cubicBezTo>
                  <a:pt x="1723" y="190"/>
                  <a:pt x="1719" y="185"/>
                  <a:pt x="1717" y="179"/>
                </a:cubicBezTo>
                <a:cubicBezTo>
                  <a:pt x="1715" y="173"/>
                  <a:pt x="1714" y="167"/>
                  <a:pt x="1714" y="160"/>
                </a:cubicBezTo>
                <a:cubicBezTo>
                  <a:pt x="1714" y="153"/>
                  <a:pt x="1715" y="147"/>
                  <a:pt x="1718" y="141"/>
                </a:cubicBezTo>
                <a:cubicBezTo>
                  <a:pt x="1720" y="135"/>
                  <a:pt x="1723" y="130"/>
                  <a:pt x="1728" y="126"/>
                </a:cubicBezTo>
                <a:cubicBezTo>
                  <a:pt x="1732" y="122"/>
                  <a:pt x="1737" y="119"/>
                  <a:pt x="1743" y="116"/>
                </a:cubicBezTo>
                <a:cubicBezTo>
                  <a:pt x="1749" y="114"/>
                  <a:pt x="1756" y="113"/>
                  <a:pt x="1763" y="113"/>
                </a:cubicBezTo>
                <a:cubicBezTo>
                  <a:pt x="1773" y="113"/>
                  <a:pt x="1781" y="115"/>
                  <a:pt x="1788" y="118"/>
                </a:cubicBezTo>
                <a:cubicBezTo>
                  <a:pt x="1784" y="144"/>
                  <a:pt x="1784" y="144"/>
                  <a:pt x="1784" y="144"/>
                </a:cubicBezTo>
                <a:cubicBezTo>
                  <a:pt x="1782" y="143"/>
                  <a:pt x="1779" y="142"/>
                  <a:pt x="1775" y="141"/>
                </a:cubicBezTo>
                <a:cubicBezTo>
                  <a:pt x="1772" y="141"/>
                  <a:pt x="1769" y="140"/>
                  <a:pt x="1767" y="140"/>
                </a:cubicBezTo>
                <a:cubicBezTo>
                  <a:pt x="1760" y="140"/>
                  <a:pt x="1755" y="142"/>
                  <a:pt x="1751" y="146"/>
                </a:cubicBezTo>
                <a:cubicBezTo>
                  <a:pt x="1747" y="149"/>
                  <a:pt x="1745" y="154"/>
                  <a:pt x="1745" y="160"/>
                </a:cubicBezTo>
                <a:cubicBezTo>
                  <a:pt x="1745" y="166"/>
                  <a:pt x="1747" y="170"/>
                  <a:pt x="1751" y="174"/>
                </a:cubicBezTo>
                <a:cubicBezTo>
                  <a:pt x="1755" y="177"/>
                  <a:pt x="1760" y="179"/>
                  <a:pt x="1767" y="179"/>
                </a:cubicBezTo>
                <a:cubicBezTo>
                  <a:pt x="1770" y="179"/>
                  <a:pt x="1772" y="179"/>
                  <a:pt x="1775" y="178"/>
                </a:cubicBezTo>
                <a:cubicBezTo>
                  <a:pt x="1778" y="178"/>
                  <a:pt x="1780" y="177"/>
                  <a:pt x="1782" y="176"/>
                </a:cubicBezTo>
                <a:lnTo>
                  <a:pt x="1794" y="198"/>
                </a:lnTo>
                <a:close/>
                <a:moveTo>
                  <a:pt x="1656" y="179"/>
                </a:moveTo>
                <a:cubicBezTo>
                  <a:pt x="1662" y="179"/>
                  <a:pt x="1666" y="177"/>
                  <a:pt x="1669" y="174"/>
                </a:cubicBezTo>
                <a:cubicBezTo>
                  <a:pt x="1673" y="170"/>
                  <a:pt x="1674" y="165"/>
                  <a:pt x="1674" y="160"/>
                </a:cubicBezTo>
                <a:cubicBezTo>
                  <a:pt x="1674" y="154"/>
                  <a:pt x="1673" y="149"/>
                  <a:pt x="1669" y="145"/>
                </a:cubicBezTo>
                <a:cubicBezTo>
                  <a:pt x="1666" y="142"/>
                  <a:pt x="1662" y="140"/>
                  <a:pt x="1656" y="140"/>
                </a:cubicBezTo>
                <a:cubicBezTo>
                  <a:pt x="1651" y="140"/>
                  <a:pt x="1647" y="142"/>
                  <a:pt x="1643" y="145"/>
                </a:cubicBezTo>
                <a:cubicBezTo>
                  <a:pt x="1640" y="149"/>
                  <a:pt x="1638" y="154"/>
                  <a:pt x="1638" y="160"/>
                </a:cubicBezTo>
                <a:cubicBezTo>
                  <a:pt x="1638" y="165"/>
                  <a:pt x="1640" y="170"/>
                  <a:pt x="1643" y="174"/>
                </a:cubicBezTo>
                <a:cubicBezTo>
                  <a:pt x="1647" y="177"/>
                  <a:pt x="1651" y="179"/>
                  <a:pt x="1656" y="179"/>
                </a:cubicBezTo>
                <a:moveTo>
                  <a:pt x="1648" y="207"/>
                </a:moveTo>
                <a:cubicBezTo>
                  <a:pt x="1642" y="207"/>
                  <a:pt x="1637" y="206"/>
                  <a:pt x="1632" y="203"/>
                </a:cubicBezTo>
                <a:cubicBezTo>
                  <a:pt x="1627" y="201"/>
                  <a:pt x="1622" y="198"/>
                  <a:pt x="1619" y="194"/>
                </a:cubicBezTo>
                <a:cubicBezTo>
                  <a:pt x="1615" y="189"/>
                  <a:pt x="1613" y="185"/>
                  <a:pt x="1611" y="179"/>
                </a:cubicBezTo>
                <a:cubicBezTo>
                  <a:pt x="1609" y="173"/>
                  <a:pt x="1608" y="167"/>
                  <a:pt x="1608" y="160"/>
                </a:cubicBezTo>
                <a:cubicBezTo>
                  <a:pt x="1608" y="153"/>
                  <a:pt x="1609" y="147"/>
                  <a:pt x="1611" y="141"/>
                </a:cubicBezTo>
                <a:cubicBezTo>
                  <a:pt x="1613" y="135"/>
                  <a:pt x="1616" y="130"/>
                  <a:pt x="1619" y="126"/>
                </a:cubicBezTo>
                <a:cubicBezTo>
                  <a:pt x="1623" y="122"/>
                  <a:pt x="1627" y="119"/>
                  <a:pt x="1633" y="116"/>
                </a:cubicBezTo>
                <a:cubicBezTo>
                  <a:pt x="1638" y="114"/>
                  <a:pt x="1643" y="113"/>
                  <a:pt x="1649" y="113"/>
                </a:cubicBezTo>
                <a:cubicBezTo>
                  <a:pt x="1654" y="113"/>
                  <a:pt x="1659" y="114"/>
                  <a:pt x="1663" y="116"/>
                </a:cubicBezTo>
                <a:cubicBezTo>
                  <a:pt x="1668" y="118"/>
                  <a:pt x="1671" y="122"/>
                  <a:pt x="1674" y="126"/>
                </a:cubicBezTo>
                <a:cubicBezTo>
                  <a:pt x="1674" y="115"/>
                  <a:pt x="1674" y="115"/>
                  <a:pt x="1674" y="115"/>
                </a:cubicBezTo>
                <a:cubicBezTo>
                  <a:pt x="1703" y="115"/>
                  <a:pt x="1703" y="115"/>
                  <a:pt x="1703" y="115"/>
                </a:cubicBezTo>
                <a:cubicBezTo>
                  <a:pt x="1703" y="204"/>
                  <a:pt x="1703" y="204"/>
                  <a:pt x="1703" y="204"/>
                </a:cubicBezTo>
                <a:cubicBezTo>
                  <a:pt x="1674" y="204"/>
                  <a:pt x="1674" y="204"/>
                  <a:pt x="1674" y="204"/>
                </a:cubicBezTo>
                <a:cubicBezTo>
                  <a:pt x="1674" y="194"/>
                  <a:pt x="1674" y="194"/>
                  <a:pt x="1674" y="194"/>
                </a:cubicBezTo>
                <a:cubicBezTo>
                  <a:pt x="1671" y="198"/>
                  <a:pt x="1668" y="201"/>
                  <a:pt x="1663" y="203"/>
                </a:cubicBezTo>
                <a:cubicBezTo>
                  <a:pt x="1659" y="206"/>
                  <a:pt x="1654" y="207"/>
                  <a:pt x="1648" y="207"/>
                </a:cubicBezTo>
                <a:moveTo>
                  <a:pt x="1549" y="179"/>
                </a:moveTo>
                <a:cubicBezTo>
                  <a:pt x="1554" y="179"/>
                  <a:pt x="1559" y="177"/>
                  <a:pt x="1562" y="174"/>
                </a:cubicBezTo>
                <a:cubicBezTo>
                  <a:pt x="1565" y="170"/>
                  <a:pt x="1567" y="165"/>
                  <a:pt x="1567" y="160"/>
                </a:cubicBezTo>
                <a:cubicBezTo>
                  <a:pt x="1567" y="154"/>
                  <a:pt x="1565" y="149"/>
                  <a:pt x="1562" y="145"/>
                </a:cubicBezTo>
                <a:cubicBezTo>
                  <a:pt x="1559" y="142"/>
                  <a:pt x="1554" y="140"/>
                  <a:pt x="1549" y="140"/>
                </a:cubicBezTo>
                <a:cubicBezTo>
                  <a:pt x="1544" y="140"/>
                  <a:pt x="1540" y="142"/>
                  <a:pt x="1536" y="145"/>
                </a:cubicBezTo>
                <a:cubicBezTo>
                  <a:pt x="1533" y="149"/>
                  <a:pt x="1531" y="154"/>
                  <a:pt x="1531" y="160"/>
                </a:cubicBezTo>
                <a:cubicBezTo>
                  <a:pt x="1531" y="165"/>
                  <a:pt x="1533" y="170"/>
                  <a:pt x="1536" y="174"/>
                </a:cubicBezTo>
                <a:cubicBezTo>
                  <a:pt x="1540" y="177"/>
                  <a:pt x="1544" y="179"/>
                  <a:pt x="1549" y="179"/>
                </a:cubicBezTo>
                <a:moveTo>
                  <a:pt x="1502" y="115"/>
                </a:moveTo>
                <a:cubicBezTo>
                  <a:pt x="1531" y="115"/>
                  <a:pt x="1531" y="115"/>
                  <a:pt x="1531" y="115"/>
                </a:cubicBezTo>
                <a:cubicBezTo>
                  <a:pt x="1531" y="125"/>
                  <a:pt x="1531" y="125"/>
                  <a:pt x="1531" y="125"/>
                </a:cubicBezTo>
                <a:cubicBezTo>
                  <a:pt x="1534" y="121"/>
                  <a:pt x="1538" y="118"/>
                  <a:pt x="1542" y="116"/>
                </a:cubicBezTo>
                <a:cubicBezTo>
                  <a:pt x="1547" y="114"/>
                  <a:pt x="1552" y="113"/>
                  <a:pt x="1558" y="113"/>
                </a:cubicBezTo>
                <a:cubicBezTo>
                  <a:pt x="1563" y="113"/>
                  <a:pt x="1569" y="114"/>
                  <a:pt x="1574" y="116"/>
                </a:cubicBezTo>
                <a:cubicBezTo>
                  <a:pt x="1579" y="118"/>
                  <a:pt x="1583" y="122"/>
                  <a:pt x="1587" y="126"/>
                </a:cubicBezTo>
                <a:cubicBezTo>
                  <a:pt x="1590" y="130"/>
                  <a:pt x="1593" y="135"/>
                  <a:pt x="1595" y="140"/>
                </a:cubicBezTo>
                <a:cubicBezTo>
                  <a:pt x="1597" y="146"/>
                  <a:pt x="1598" y="152"/>
                  <a:pt x="1598" y="159"/>
                </a:cubicBezTo>
                <a:cubicBezTo>
                  <a:pt x="1598" y="166"/>
                  <a:pt x="1597" y="172"/>
                  <a:pt x="1595" y="178"/>
                </a:cubicBezTo>
                <a:cubicBezTo>
                  <a:pt x="1593" y="184"/>
                  <a:pt x="1590" y="189"/>
                  <a:pt x="1586" y="193"/>
                </a:cubicBezTo>
                <a:cubicBezTo>
                  <a:pt x="1582" y="197"/>
                  <a:pt x="1578" y="201"/>
                  <a:pt x="1573" y="203"/>
                </a:cubicBezTo>
                <a:cubicBezTo>
                  <a:pt x="1568" y="205"/>
                  <a:pt x="1563" y="207"/>
                  <a:pt x="1557" y="207"/>
                </a:cubicBezTo>
                <a:cubicBezTo>
                  <a:pt x="1552" y="207"/>
                  <a:pt x="1547" y="206"/>
                  <a:pt x="1543" y="204"/>
                </a:cubicBezTo>
                <a:cubicBezTo>
                  <a:pt x="1539" y="202"/>
                  <a:pt x="1536" y="199"/>
                  <a:pt x="1533" y="196"/>
                </a:cubicBezTo>
                <a:cubicBezTo>
                  <a:pt x="1533" y="243"/>
                  <a:pt x="1533" y="243"/>
                  <a:pt x="1533" y="243"/>
                </a:cubicBezTo>
                <a:cubicBezTo>
                  <a:pt x="1502" y="243"/>
                  <a:pt x="1502" y="243"/>
                  <a:pt x="1502" y="243"/>
                </a:cubicBezTo>
                <a:lnTo>
                  <a:pt x="1502" y="115"/>
                </a:lnTo>
                <a:close/>
                <a:moveTo>
                  <a:pt x="1455" y="135"/>
                </a:moveTo>
                <a:cubicBezTo>
                  <a:pt x="1449" y="135"/>
                  <a:pt x="1445" y="137"/>
                  <a:pt x="1445" y="140"/>
                </a:cubicBezTo>
                <a:cubicBezTo>
                  <a:pt x="1445" y="142"/>
                  <a:pt x="1446" y="144"/>
                  <a:pt x="1448" y="145"/>
                </a:cubicBezTo>
                <a:cubicBezTo>
                  <a:pt x="1450" y="146"/>
                  <a:pt x="1454" y="147"/>
                  <a:pt x="1459" y="148"/>
                </a:cubicBezTo>
                <a:cubicBezTo>
                  <a:pt x="1469" y="151"/>
                  <a:pt x="1477" y="154"/>
                  <a:pt x="1482" y="159"/>
                </a:cubicBezTo>
                <a:cubicBezTo>
                  <a:pt x="1487" y="164"/>
                  <a:pt x="1489" y="170"/>
                  <a:pt x="1489" y="179"/>
                </a:cubicBezTo>
                <a:cubicBezTo>
                  <a:pt x="1489" y="187"/>
                  <a:pt x="1486" y="194"/>
                  <a:pt x="1479" y="199"/>
                </a:cubicBezTo>
                <a:cubicBezTo>
                  <a:pt x="1472" y="204"/>
                  <a:pt x="1462" y="207"/>
                  <a:pt x="1449" y="207"/>
                </a:cubicBezTo>
                <a:cubicBezTo>
                  <a:pt x="1442" y="207"/>
                  <a:pt x="1436" y="206"/>
                  <a:pt x="1429" y="204"/>
                </a:cubicBezTo>
                <a:cubicBezTo>
                  <a:pt x="1423" y="203"/>
                  <a:pt x="1418" y="201"/>
                  <a:pt x="1414" y="198"/>
                </a:cubicBezTo>
                <a:cubicBezTo>
                  <a:pt x="1424" y="180"/>
                  <a:pt x="1424" y="180"/>
                  <a:pt x="1424" y="180"/>
                </a:cubicBezTo>
                <a:cubicBezTo>
                  <a:pt x="1427" y="181"/>
                  <a:pt x="1431" y="182"/>
                  <a:pt x="1436" y="183"/>
                </a:cubicBezTo>
                <a:cubicBezTo>
                  <a:pt x="1440" y="184"/>
                  <a:pt x="1444" y="184"/>
                  <a:pt x="1447" y="184"/>
                </a:cubicBezTo>
                <a:cubicBezTo>
                  <a:pt x="1455" y="184"/>
                  <a:pt x="1458" y="182"/>
                  <a:pt x="1458" y="179"/>
                </a:cubicBezTo>
                <a:cubicBezTo>
                  <a:pt x="1458" y="178"/>
                  <a:pt x="1458" y="177"/>
                  <a:pt x="1458" y="176"/>
                </a:cubicBezTo>
                <a:cubicBezTo>
                  <a:pt x="1458" y="176"/>
                  <a:pt x="1457" y="175"/>
                  <a:pt x="1456" y="175"/>
                </a:cubicBezTo>
                <a:cubicBezTo>
                  <a:pt x="1455" y="174"/>
                  <a:pt x="1454" y="173"/>
                  <a:pt x="1452" y="173"/>
                </a:cubicBezTo>
                <a:cubicBezTo>
                  <a:pt x="1450" y="172"/>
                  <a:pt x="1448" y="172"/>
                  <a:pt x="1445" y="171"/>
                </a:cubicBezTo>
                <a:cubicBezTo>
                  <a:pt x="1440" y="170"/>
                  <a:pt x="1435" y="168"/>
                  <a:pt x="1432" y="166"/>
                </a:cubicBezTo>
                <a:cubicBezTo>
                  <a:pt x="1428" y="164"/>
                  <a:pt x="1425" y="162"/>
                  <a:pt x="1422" y="160"/>
                </a:cubicBezTo>
                <a:cubicBezTo>
                  <a:pt x="1420" y="157"/>
                  <a:pt x="1418" y="155"/>
                  <a:pt x="1417" y="152"/>
                </a:cubicBezTo>
                <a:cubicBezTo>
                  <a:pt x="1416" y="148"/>
                  <a:pt x="1415" y="145"/>
                  <a:pt x="1415" y="141"/>
                </a:cubicBezTo>
                <a:cubicBezTo>
                  <a:pt x="1415" y="132"/>
                  <a:pt x="1418" y="125"/>
                  <a:pt x="1425" y="120"/>
                </a:cubicBezTo>
                <a:cubicBezTo>
                  <a:pt x="1432" y="115"/>
                  <a:pt x="1441" y="113"/>
                  <a:pt x="1453" y="113"/>
                </a:cubicBezTo>
                <a:cubicBezTo>
                  <a:pt x="1459" y="113"/>
                  <a:pt x="1465" y="113"/>
                  <a:pt x="1471" y="115"/>
                </a:cubicBezTo>
                <a:cubicBezTo>
                  <a:pt x="1476" y="116"/>
                  <a:pt x="1481" y="117"/>
                  <a:pt x="1485" y="120"/>
                </a:cubicBezTo>
                <a:cubicBezTo>
                  <a:pt x="1482" y="142"/>
                  <a:pt x="1482" y="142"/>
                  <a:pt x="1482" y="142"/>
                </a:cubicBezTo>
                <a:cubicBezTo>
                  <a:pt x="1478" y="140"/>
                  <a:pt x="1473" y="138"/>
                  <a:pt x="1468" y="137"/>
                </a:cubicBezTo>
                <a:cubicBezTo>
                  <a:pt x="1464" y="136"/>
                  <a:pt x="1459" y="135"/>
                  <a:pt x="1455" y="135"/>
                </a:cubicBezTo>
                <a:moveTo>
                  <a:pt x="1356" y="181"/>
                </a:moveTo>
                <a:cubicBezTo>
                  <a:pt x="1362" y="181"/>
                  <a:pt x="1366" y="179"/>
                  <a:pt x="1370" y="175"/>
                </a:cubicBezTo>
                <a:cubicBezTo>
                  <a:pt x="1373" y="171"/>
                  <a:pt x="1375" y="166"/>
                  <a:pt x="1375" y="160"/>
                </a:cubicBezTo>
                <a:cubicBezTo>
                  <a:pt x="1375" y="153"/>
                  <a:pt x="1373" y="148"/>
                  <a:pt x="1370" y="144"/>
                </a:cubicBezTo>
                <a:cubicBezTo>
                  <a:pt x="1366" y="140"/>
                  <a:pt x="1362" y="139"/>
                  <a:pt x="1356" y="139"/>
                </a:cubicBezTo>
                <a:cubicBezTo>
                  <a:pt x="1350" y="139"/>
                  <a:pt x="1345" y="140"/>
                  <a:pt x="1342" y="144"/>
                </a:cubicBezTo>
                <a:cubicBezTo>
                  <a:pt x="1338" y="148"/>
                  <a:pt x="1337" y="153"/>
                  <a:pt x="1337" y="160"/>
                </a:cubicBezTo>
                <a:cubicBezTo>
                  <a:pt x="1337" y="166"/>
                  <a:pt x="1338" y="171"/>
                  <a:pt x="1342" y="175"/>
                </a:cubicBezTo>
                <a:cubicBezTo>
                  <a:pt x="1345" y="179"/>
                  <a:pt x="1350" y="181"/>
                  <a:pt x="1356" y="181"/>
                </a:cubicBezTo>
                <a:moveTo>
                  <a:pt x="1356" y="207"/>
                </a:moveTo>
                <a:cubicBezTo>
                  <a:pt x="1349" y="207"/>
                  <a:pt x="1342" y="205"/>
                  <a:pt x="1336" y="203"/>
                </a:cubicBezTo>
                <a:cubicBezTo>
                  <a:pt x="1330" y="201"/>
                  <a:pt x="1325" y="198"/>
                  <a:pt x="1321" y="193"/>
                </a:cubicBezTo>
                <a:cubicBezTo>
                  <a:pt x="1317" y="189"/>
                  <a:pt x="1313" y="184"/>
                  <a:pt x="1311" y="178"/>
                </a:cubicBezTo>
                <a:cubicBezTo>
                  <a:pt x="1308" y="173"/>
                  <a:pt x="1307" y="166"/>
                  <a:pt x="1307" y="160"/>
                </a:cubicBezTo>
                <a:cubicBezTo>
                  <a:pt x="1307" y="153"/>
                  <a:pt x="1308" y="147"/>
                  <a:pt x="1311" y="141"/>
                </a:cubicBezTo>
                <a:cubicBezTo>
                  <a:pt x="1313" y="135"/>
                  <a:pt x="1317" y="130"/>
                  <a:pt x="1321" y="126"/>
                </a:cubicBezTo>
                <a:cubicBezTo>
                  <a:pt x="1325" y="122"/>
                  <a:pt x="1331" y="118"/>
                  <a:pt x="1337" y="116"/>
                </a:cubicBezTo>
                <a:cubicBezTo>
                  <a:pt x="1342" y="114"/>
                  <a:pt x="1349" y="113"/>
                  <a:pt x="1356" y="113"/>
                </a:cubicBezTo>
                <a:cubicBezTo>
                  <a:pt x="1363" y="113"/>
                  <a:pt x="1369" y="114"/>
                  <a:pt x="1375" y="116"/>
                </a:cubicBezTo>
                <a:cubicBezTo>
                  <a:pt x="1381" y="118"/>
                  <a:pt x="1386" y="122"/>
                  <a:pt x="1391" y="126"/>
                </a:cubicBezTo>
                <a:cubicBezTo>
                  <a:pt x="1395" y="130"/>
                  <a:pt x="1398" y="135"/>
                  <a:pt x="1401" y="141"/>
                </a:cubicBezTo>
                <a:cubicBezTo>
                  <a:pt x="1403" y="147"/>
                  <a:pt x="1404" y="153"/>
                  <a:pt x="1404" y="160"/>
                </a:cubicBezTo>
                <a:cubicBezTo>
                  <a:pt x="1404" y="166"/>
                  <a:pt x="1403" y="173"/>
                  <a:pt x="1401" y="178"/>
                </a:cubicBezTo>
                <a:cubicBezTo>
                  <a:pt x="1398" y="184"/>
                  <a:pt x="1395" y="189"/>
                  <a:pt x="1391" y="193"/>
                </a:cubicBezTo>
                <a:cubicBezTo>
                  <a:pt x="1386" y="197"/>
                  <a:pt x="1381" y="201"/>
                  <a:pt x="1375" y="203"/>
                </a:cubicBezTo>
                <a:cubicBezTo>
                  <a:pt x="1369" y="205"/>
                  <a:pt x="1363" y="207"/>
                  <a:pt x="1356" y="207"/>
                </a:cubicBezTo>
                <a:moveTo>
                  <a:pt x="1239" y="115"/>
                </a:moveTo>
                <a:cubicBezTo>
                  <a:pt x="1269" y="115"/>
                  <a:pt x="1269" y="115"/>
                  <a:pt x="1269" y="115"/>
                </a:cubicBezTo>
                <a:cubicBezTo>
                  <a:pt x="1269" y="129"/>
                  <a:pt x="1269" y="129"/>
                  <a:pt x="1269" y="129"/>
                </a:cubicBezTo>
                <a:cubicBezTo>
                  <a:pt x="1271" y="124"/>
                  <a:pt x="1274" y="120"/>
                  <a:pt x="1278" y="118"/>
                </a:cubicBezTo>
                <a:cubicBezTo>
                  <a:pt x="1282" y="115"/>
                  <a:pt x="1286" y="114"/>
                  <a:pt x="1291" y="114"/>
                </a:cubicBezTo>
                <a:cubicBezTo>
                  <a:pt x="1295" y="114"/>
                  <a:pt x="1299" y="114"/>
                  <a:pt x="1301" y="116"/>
                </a:cubicBezTo>
                <a:cubicBezTo>
                  <a:pt x="1299" y="145"/>
                  <a:pt x="1299" y="145"/>
                  <a:pt x="1299" y="145"/>
                </a:cubicBezTo>
                <a:cubicBezTo>
                  <a:pt x="1297" y="144"/>
                  <a:pt x="1296" y="143"/>
                  <a:pt x="1293" y="143"/>
                </a:cubicBezTo>
                <a:cubicBezTo>
                  <a:pt x="1291" y="143"/>
                  <a:pt x="1289" y="142"/>
                  <a:pt x="1288" y="142"/>
                </a:cubicBezTo>
                <a:cubicBezTo>
                  <a:pt x="1276" y="142"/>
                  <a:pt x="1270" y="150"/>
                  <a:pt x="1270" y="166"/>
                </a:cubicBezTo>
                <a:cubicBezTo>
                  <a:pt x="1270" y="204"/>
                  <a:pt x="1270" y="204"/>
                  <a:pt x="1270" y="204"/>
                </a:cubicBezTo>
                <a:cubicBezTo>
                  <a:pt x="1239" y="204"/>
                  <a:pt x="1239" y="204"/>
                  <a:pt x="1239" y="204"/>
                </a:cubicBezTo>
                <a:lnTo>
                  <a:pt x="1239" y="115"/>
                </a:lnTo>
                <a:close/>
                <a:moveTo>
                  <a:pt x="1195" y="150"/>
                </a:moveTo>
                <a:cubicBezTo>
                  <a:pt x="1195" y="145"/>
                  <a:pt x="1193" y="142"/>
                  <a:pt x="1191" y="139"/>
                </a:cubicBezTo>
                <a:cubicBezTo>
                  <a:pt x="1188" y="136"/>
                  <a:pt x="1184" y="135"/>
                  <a:pt x="1180" y="135"/>
                </a:cubicBezTo>
                <a:cubicBezTo>
                  <a:pt x="1172" y="135"/>
                  <a:pt x="1166" y="140"/>
                  <a:pt x="1164" y="150"/>
                </a:cubicBezTo>
                <a:lnTo>
                  <a:pt x="1195" y="150"/>
                </a:lnTo>
                <a:close/>
                <a:moveTo>
                  <a:pt x="1224" y="197"/>
                </a:moveTo>
                <a:cubicBezTo>
                  <a:pt x="1219" y="200"/>
                  <a:pt x="1214" y="203"/>
                  <a:pt x="1208" y="204"/>
                </a:cubicBezTo>
                <a:cubicBezTo>
                  <a:pt x="1201" y="206"/>
                  <a:pt x="1195" y="207"/>
                  <a:pt x="1188" y="207"/>
                </a:cubicBezTo>
                <a:cubicBezTo>
                  <a:pt x="1180" y="207"/>
                  <a:pt x="1172" y="206"/>
                  <a:pt x="1166" y="203"/>
                </a:cubicBezTo>
                <a:cubicBezTo>
                  <a:pt x="1159" y="201"/>
                  <a:pt x="1153" y="198"/>
                  <a:pt x="1149" y="194"/>
                </a:cubicBezTo>
                <a:cubicBezTo>
                  <a:pt x="1144" y="190"/>
                  <a:pt x="1141" y="185"/>
                  <a:pt x="1138" y="179"/>
                </a:cubicBezTo>
                <a:cubicBezTo>
                  <a:pt x="1136" y="173"/>
                  <a:pt x="1134" y="167"/>
                  <a:pt x="1134" y="160"/>
                </a:cubicBezTo>
                <a:cubicBezTo>
                  <a:pt x="1134" y="153"/>
                  <a:pt x="1136" y="146"/>
                  <a:pt x="1138" y="141"/>
                </a:cubicBezTo>
                <a:cubicBezTo>
                  <a:pt x="1140" y="135"/>
                  <a:pt x="1143" y="130"/>
                  <a:pt x="1147" y="126"/>
                </a:cubicBezTo>
                <a:cubicBezTo>
                  <a:pt x="1151" y="122"/>
                  <a:pt x="1156" y="118"/>
                  <a:pt x="1162" y="116"/>
                </a:cubicBezTo>
                <a:cubicBezTo>
                  <a:pt x="1168" y="114"/>
                  <a:pt x="1174" y="113"/>
                  <a:pt x="1181" y="113"/>
                </a:cubicBezTo>
                <a:cubicBezTo>
                  <a:pt x="1187" y="113"/>
                  <a:pt x="1193" y="114"/>
                  <a:pt x="1199" y="116"/>
                </a:cubicBezTo>
                <a:cubicBezTo>
                  <a:pt x="1204" y="118"/>
                  <a:pt x="1209" y="121"/>
                  <a:pt x="1212" y="125"/>
                </a:cubicBezTo>
                <a:cubicBezTo>
                  <a:pt x="1216" y="128"/>
                  <a:pt x="1219" y="133"/>
                  <a:pt x="1221" y="138"/>
                </a:cubicBezTo>
                <a:cubicBezTo>
                  <a:pt x="1223" y="144"/>
                  <a:pt x="1224" y="150"/>
                  <a:pt x="1224" y="157"/>
                </a:cubicBezTo>
                <a:cubicBezTo>
                  <a:pt x="1224" y="161"/>
                  <a:pt x="1224" y="165"/>
                  <a:pt x="1223" y="168"/>
                </a:cubicBezTo>
                <a:cubicBezTo>
                  <a:pt x="1165" y="168"/>
                  <a:pt x="1165" y="168"/>
                  <a:pt x="1165" y="168"/>
                </a:cubicBezTo>
                <a:cubicBezTo>
                  <a:pt x="1168" y="178"/>
                  <a:pt x="1176" y="183"/>
                  <a:pt x="1191" y="183"/>
                </a:cubicBezTo>
                <a:cubicBezTo>
                  <a:pt x="1194" y="183"/>
                  <a:pt x="1198" y="182"/>
                  <a:pt x="1203" y="181"/>
                </a:cubicBezTo>
                <a:cubicBezTo>
                  <a:pt x="1207" y="180"/>
                  <a:pt x="1211" y="179"/>
                  <a:pt x="1214" y="178"/>
                </a:cubicBezTo>
                <a:lnTo>
                  <a:pt x="1224" y="197"/>
                </a:lnTo>
                <a:close/>
                <a:moveTo>
                  <a:pt x="1077" y="148"/>
                </a:moveTo>
                <a:cubicBezTo>
                  <a:pt x="1062" y="103"/>
                  <a:pt x="1062" y="103"/>
                  <a:pt x="1062" y="103"/>
                </a:cubicBezTo>
                <a:cubicBezTo>
                  <a:pt x="1047" y="148"/>
                  <a:pt x="1047" y="148"/>
                  <a:pt x="1047" y="148"/>
                </a:cubicBezTo>
                <a:lnTo>
                  <a:pt x="1077" y="148"/>
                </a:lnTo>
                <a:close/>
                <a:moveTo>
                  <a:pt x="1046" y="73"/>
                </a:moveTo>
                <a:cubicBezTo>
                  <a:pt x="1081" y="73"/>
                  <a:pt x="1081" y="73"/>
                  <a:pt x="1081" y="73"/>
                </a:cubicBezTo>
                <a:cubicBezTo>
                  <a:pt x="1133" y="204"/>
                  <a:pt x="1133" y="204"/>
                  <a:pt x="1133" y="204"/>
                </a:cubicBezTo>
                <a:cubicBezTo>
                  <a:pt x="1096" y="204"/>
                  <a:pt x="1096" y="204"/>
                  <a:pt x="1096" y="204"/>
                </a:cubicBezTo>
                <a:cubicBezTo>
                  <a:pt x="1086" y="174"/>
                  <a:pt x="1086" y="174"/>
                  <a:pt x="1086" y="174"/>
                </a:cubicBezTo>
                <a:cubicBezTo>
                  <a:pt x="1039" y="174"/>
                  <a:pt x="1039" y="174"/>
                  <a:pt x="1039" y="174"/>
                </a:cubicBezTo>
                <a:cubicBezTo>
                  <a:pt x="1029" y="204"/>
                  <a:pt x="1029" y="204"/>
                  <a:pt x="1029" y="204"/>
                </a:cubicBezTo>
                <a:cubicBezTo>
                  <a:pt x="995" y="204"/>
                  <a:pt x="995" y="204"/>
                  <a:pt x="995" y="204"/>
                </a:cubicBezTo>
                <a:lnTo>
                  <a:pt x="1046" y="73"/>
                </a:lnTo>
                <a:close/>
                <a:moveTo>
                  <a:pt x="921" y="135"/>
                </a:moveTo>
                <a:cubicBezTo>
                  <a:pt x="914" y="135"/>
                  <a:pt x="911" y="137"/>
                  <a:pt x="911" y="140"/>
                </a:cubicBezTo>
                <a:cubicBezTo>
                  <a:pt x="911" y="142"/>
                  <a:pt x="912" y="144"/>
                  <a:pt x="914" y="145"/>
                </a:cubicBezTo>
                <a:cubicBezTo>
                  <a:pt x="916" y="146"/>
                  <a:pt x="919" y="147"/>
                  <a:pt x="924" y="148"/>
                </a:cubicBezTo>
                <a:cubicBezTo>
                  <a:pt x="935" y="151"/>
                  <a:pt x="943" y="154"/>
                  <a:pt x="948" y="159"/>
                </a:cubicBezTo>
                <a:cubicBezTo>
                  <a:pt x="952" y="164"/>
                  <a:pt x="955" y="170"/>
                  <a:pt x="955" y="179"/>
                </a:cubicBezTo>
                <a:cubicBezTo>
                  <a:pt x="955" y="187"/>
                  <a:pt x="951" y="194"/>
                  <a:pt x="944" y="199"/>
                </a:cubicBezTo>
                <a:cubicBezTo>
                  <a:pt x="937" y="204"/>
                  <a:pt x="928" y="207"/>
                  <a:pt x="915" y="207"/>
                </a:cubicBezTo>
                <a:cubicBezTo>
                  <a:pt x="908" y="207"/>
                  <a:pt x="901" y="206"/>
                  <a:pt x="895" y="204"/>
                </a:cubicBezTo>
                <a:cubicBezTo>
                  <a:pt x="888" y="203"/>
                  <a:pt x="883" y="201"/>
                  <a:pt x="880" y="198"/>
                </a:cubicBezTo>
                <a:cubicBezTo>
                  <a:pt x="890" y="180"/>
                  <a:pt x="890" y="180"/>
                  <a:pt x="890" y="180"/>
                </a:cubicBezTo>
                <a:cubicBezTo>
                  <a:pt x="893" y="181"/>
                  <a:pt x="897" y="182"/>
                  <a:pt x="901" y="183"/>
                </a:cubicBezTo>
                <a:cubicBezTo>
                  <a:pt x="905" y="184"/>
                  <a:pt x="909" y="184"/>
                  <a:pt x="913" y="184"/>
                </a:cubicBezTo>
                <a:cubicBezTo>
                  <a:pt x="920" y="184"/>
                  <a:pt x="924" y="182"/>
                  <a:pt x="924" y="179"/>
                </a:cubicBezTo>
                <a:cubicBezTo>
                  <a:pt x="924" y="178"/>
                  <a:pt x="924" y="177"/>
                  <a:pt x="924" y="176"/>
                </a:cubicBezTo>
                <a:cubicBezTo>
                  <a:pt x="923" y="176"/>
                  <a:pt x="923" y="175"/>
                  <a:pt x="922" y="175"/>
                </a:cubicBezTo>
                <a:cubicBezTo>
                  <a:pt x="921" y="174"/>
                  <a:pt x="919" y="173"/>
                  <a:pt x="918" y="173"/>
                </a:cubicBezTo>
                <a:cubicBezTo>
                  <a:pt x="916" y="172"/>
                  <a:pt x="914" y="172"/>
                  <a:pt x="911" y="171"/>
                </a:cubicBezTo>
                <a:cubicBezTo>
                  <a:pt x="906" y="170"/>
                  <a:pt x="901" y="168"/>
                  <a:pt x="897" y="166"/>
                </a:cubicBezTo>
                <a:cubicBezTo>
                  <a:pt x="893" y="164"/>
                  <a:pt x="890" y="162"/>
                  <a:pt x="888" y="160"/>
                </a:cubicBezTo>
                <a:cubicBezTo>
                  <a:pt x="885" y="157"/>
                  <a:pt x="884" y="155"/>
                  <a:pt x="883" y="152"/>
                </a:cubicBezTo>
                <a:cubicBezTo>
                  <a:pt x="881" y="148"/>
                  <a:pt x="881" y="145"/>
                  <a:pt x="881" y="141"/>
                </a:cubicBezTo>
                <a:cubicBezTo>
                  <a:pt x="881" y="132"/>
                  <a:pt x="884" y="125"/>
                  <a:pt x="891" y="120"/>
                </a:cubicBezTo>
                <a:cubicBezTo>
                  <a:pt x="898" y="115"/>
                  <a:pt x="907" y="113"/>
                  <a:pt x="919" y="113"/>
                </a:cubicBezTo>
                <a:cubicBezTo>
                  <a:pt x="925" y="113"/>
                  <a:pt x="931" y="113"/>
                  <a:pt x="936" y="115"/>
                </a:cubicBezTo>
                <a:cubicBezTo>
                  <a:pt x="942" y="116"/>
                  <a:pt x="947" y="117"/>
                  <a:pt x="951" y="120"/>
                </a:cubicBezTo>
                <a:cubicBezTo>
                  <a:pt x="948" y="142"/>
                  <a:pt x="948" y="142"/>
                  <a:pt x="948" y="142"/>
                </a:cubicBezTo>
                <a:cubicBezTo>
                  <a:pt x="943" y="140"/>
                  <a:pt x="939" y="138"/>
                  <a:pt x="934" y="137"/>
                </a:cubicBezTo>
                <a:cubicBezTo>
                  <a:pt x="929" y="136"/>
                  <a:pt x="925" y="135"/>
                  <a:pt x="921" y="135"/>
                </a:cubicBezTo>
                <a:moveTo>
                  <a:pt x="780" y="115"/>
                </a:moveTo>
                <a:cubicBezTo>
                  <a:pt x="810" y="115"/>
                  <a:pt x="810" y="115"/>
                  <a:pt x="810" y="115"/>
                </a:cubicBezTo>
                <a:cubicBezTo>
                  <a:pt x="810" y="126"/>
                  <a:pt x="810" y="126"/>
                  <a:pt x="810" y="126"/>
                </a:cubicBezTo>
                <a:cubicBezTo>
                  <a:pt x="812" y="122"/>
                  <a:pt x="816" y="119"/>
                  <a:pt x="820" y="116"/>
                </a:cubicBezTo>
                <a:cubicBezTo>
                  <a:pt x="825" y="114"/>
                  <a:pt x="830" y="113"/>
                  <a:pt x="836" y="113"/>
                </a:cubicBezTo>
                <a:cubicBezTo>
                  <a:pt x="846" y="113"/>
                  <a:pt x="853" y="116"/>
                  <a:pt x="859" y="122"/>
                </a:cubicBezTo>
                <a:cubicBezTo>
                  <a:pt x="864" y="128"/>
                  <a:pt x="866" y="138"/>
                  <a:pt x="866" y="150"/>
                </a:cubicBezTo>
                <a:cubicBezTo>
                  <a:pt x="866" y="204"/>
                  <a:pt x="866" y="204"/>
                  <a:pt x="866" y="204"/>
                </a:cubicBezTo>
                <a:cubicBezTo>
                  <a:pt x="836" y="204"/>
                  <a:pt x="836" y="204"/>
                  <a:pt x="836" y="204"/>
                </a:cubicBezTo>
                <a:cubicBezTo>
                  <a:pt x="836" y="156"/>
                  <a:pt x="836" y="156"/>
                  <a:pt x="836" y="156"/>
                </a:cubicBezTo>
                <a:cubicBezTo>
                  <a:pt x="836" y="145"/>
                  <a:pt x="832" y="140"/>
                  <a:pt x="824" y="140"/>
                </a:cubicBezTo>
                <a:cubicBezTo>
                  <a:pt x="819" y="140"/>
                  <a:pt x="816" y="142"/>
                  <a:pt x="814" y="144"/>
                </a:cubicBezTo>
                <a:cubicBezTo>
                  <a:pt x="812" y="147"/>
                  <a:pt x="810" y="152"/>
                  <a:pt x="810" y="157"/>
                </a:cubicBezTo>
                <a:cubicBezTo>
                  <a:pt x="810" y="204"/>
                  <a:pt x="810" y="204"/>
                  <a:pt x="810" y="204"/>
                </a:cubicBezTo>
                <a:cubicBezTo>
                  <a:pt x="780" y="204"/>
                  <a:pt x="780" y="204"/>
                  <a:pt x="780" y="204"/>
                </a:cubicBezTo>
                <a:lnTo>
                  <a:pt x="780" y="115"/>
                </a:lnTo>
                <a:close/>
                <a:moveTo>
                  <a:pt x="729" y="115"/>
                </a:moveTo>
                <a:cubicBezTo>
                  <a:pt x="760" y="115"/>
                  <a:pt x="760" y="115"/>
                  <a:pt x="760" y="115"/>
                </a:cubicBezTo>
                <a:cubicBezTo>
                  <a:pt x="760" y="204"/>
                  <a:pt x="760" y="204"/>
                  <a:pt x="760" y="204"/>
                </a:cubicBezTo>
                <a:cubicBezTo>
                  <a:pt x="729" y="204"/>
                  <a:pt x="729" y="204"/>
                  <a:pt x="729" y="204"/>
                </a:cubicBezTo>
                <a:lnTo>
                  <a:pt x="729" y="115"/>
                </a:lnTo>
                <a:close/>
                <a:moveTo>
                  <a:pt x="744" y="101"/>
                </a:moveTo>
                <a:cubicBezTo>
                  <a:pt x="739" y="101"/>
                  <a:pt x="735" y="100"/>
                  <a:pt x="732" y="97"/>
                </a:cubicBezTo>
                <a:cubicBezTo>
                  <a:pt x="729" y="94"/>
                  <a:pt x="727" y="90"/>
                  <a:pt x="727" y="85"/>
                </a:cubicBezTo>
                <a:cubicBezTo>
                  <a:pt x="727" y="80"/>
                  <a:pt x="729" y="76"/>
                  <a:pt x="732" y="73"/>
                </a:cubicBezTo>
                <a:cubicBezTo>
                  <a:pt x="735" y="70"/>
                  <a:pt x="739" y="68"/>
                  <a:pt x="744" y="68"/>
                </a:cubicBezTo>
                <a:cubicBezTo>
                  <a:pt x="749" y="68"/>
                  <a:pt x="753" y="70"/>
                  <a:pt x="757" y="73"/>
                </a:cubicBezTo>
                <a:cubicBezTo>
                  <a:pt x="760" y="76"/>
                  <a:pt x="762" y="80"/>
                  <a:pt x="762" y="85"/>
                </a:cubicBezTo>
                <a:cubicBezTo>
                  <a:pt x="762" y="90"/>
                  <a:pt x="760" y="94"/>
                  <a:pt x="757" y="97"/>
                </a:cubicBezTo>
                <a:cubicBezTo>
                  <a:pt x="753" y="100"/>
                  <a:pt x="749" y="101"/>
                  <a:pt x="744" y="101"/>
                </a:cubicBezTo>
                <a:moveTo>
                  <a:pt x="676" y="73"/>
                </a:moveTo>
                <a:cubicBezTo>
                  <a:pt x="707" y="73"/>
                  <a:pt x="707" y="73"/>
                  <a:pt x="707" y="73"/>
                </a:cubicBezTo>
                <a:cubicBezTo>
                  <a:pt x="707" y="204"/>
                  <a:pt x="707" y="204"/>
                  <a:pt x="707" y="204"/>
                </a:cubicBezTo>
                <a:cubicBezTo>
                  <a:pt x="676" y="204"/>
                  <a:pt x="676" y="204"/>
                  <a:pt x="676" y="204"/>
                </a:cubicBezTo>
                <a:lnTo>
                  <a:pt x="676" y="73"/>
                </a:lnTo>
                <a:close/>
                <a:moveTo>
                  <a:pt x="625" y="73"/>
                </a:moveTo>
                <a:cubicBezTo>
                  <a:pt x="656" y="73"/>
                  <a:pt x="656" y="73"/>
                  <a:pt x="656" y="73"/>
                </a:cubicBezTo>
                <a:cubicBezTo>
                  <a:pt x="656" y="204"/>
                  <a:pt x="656" y="204"/>
                  <a:pt x="656" y="204"/>
                </a:cubicBezTo>
                <a:cubicBezTo>
                  <a:pt x="625" y="204"/>
                  <a:pt x="625" y="204"/>
                  <a:pt x="625" y="204"/>
                </a:cubicBezTo>
                <a:lnTo>
                  <a:pt x="625" y="73"/>
                </a:lnTo>
                <a:close/>
                <a:moveTo>
                  <a:pt x="564" y="181"/>
                </a:moveTo>
                <a:cubicBezTo>
                  <a:pt x="570" y="181"/>
                  <a:pt x="574" y="179"/>
                  <a:pt x="578" y="175"/>
                </a:cubicBezTo>
                <a:cubicBezTo>
                  <a:pt x="581" y="171"/>
                  <a:pt x="583" y="166"/>
                  <a:pt x="583" y="160"/>
                </a:cubicBezTo>
                <a:cubicBezTo>
                  <a:pt x="583" y="153"/>
                  <a:pt x="581" y="148"/>
                  <a:pt x="578" y="144"/>
                </a:cubicBezTo>
                <a:cubicBezTo>
                  <a:pt x="574" y="140"/>
                  <a:pt x="570" y="139"/>
                  <a:pt x="564" y="139"/>
                </a:cubicBezTo>
                <a:cubicBezTo>
                  <a:pt x="558" y="139"/>
                  <a:pt x="553" y="140"/>
                  <a:pt x="550" y="144"/>
                </a:cubicBezTo>
                <a:cubicBezTo>
                  <a:pt x="546" y="148"/>
                  <a:pt x="544" y="153"/>
                  <a:pt x="544" y="160"/>
                </a:cubicBezTo>
                <a:cubicBezTo>
                  <a:pt x="544" y="166"/>
                  <a:pt x="546" y="171"/>
                  <a:pt x="550" y="175"/>
                </a:cubicBezTo>
                <a:cubicBezTo>
                  <a:pt x="553" y="179"/>
                  <a:pt x="558" y="181"/>
                  <a:pt x="564" y="181"/>
                </a:cubicBezTo>
                <a:moveTo>
                  <a:pt x="564" y="207"/>
                </a:moveTo>
                <a:cubicBezTo>
                  <a:pt x="557" y="207"/>
                  <a:pt x="550" y="205"/>
                  <a:pt x="544" y="203"/>
                </a:cubicBezTo>
                <a:cubicBezTo>
                  <a:pt x="538" y="200"/>
                  <a:pt x="533" y="197"/>
                  <a:pt x="529" y="192"/>
                </a:cubicBezTo>
                <a:cubicBezTo>
                  <a:pt x="524" y="188"/>
                  <a:pt x="521" y="183"/>
                  <a:pt x="518" y="177"/>
                </a:cubicBezTo>
                <a:cubicBezTo>
                  <a:pt x="516" y="171"/>
                  <a:pt x="515" y="164"/>
                  <a:pt x="515" y="158"/>
                </a:cubicBezTo>
                <a:cubicBezTo>
                  <a:pt x="515" y="151"/>
                  <a:pt x="516" y="145"/>
                  <a:pt x="518" y="139"/>
                </a:cubicBezTo>
                <a:cubicBezTo>
                  <a:pt x="521" y="134"/>
                  <a:pt x="524" y="129"/>
                  <a:pt x="529" y="125"/>
                </a:cubicBezTo>
                <a:cubicBezTo>
                  <a:pt x="533" y="121"/>
                  <a:pt x="538" y="118"/>
                  <a:pt x="544" y="116"/>
                </a:cubicBezTo>
                <a:cubicBezTo>
                  <a:pt x="550" y="114"/>
                  <a:pt x="557" y="113"/>
                  <a:pt x="564" y="113"/>
                </a:cubicBezTo>
                <a:cubicBezTo>
                  <a:pt x="571" y="113"/>
                  <a:pt x="577" y="114"/>
                  <a:pt x="583" y="116"/>
                </a:cubicBezTo>
                <a:cubicBezTo>
                  <a:pt x="589" y="118"/>
                  <a:pt x="594" y="122"/>
                  <a:pt x="599" y="126"/>
                </a:cubicBezTo>
                <a:cubicBezTo>
                  <a:pt x="603" y="130"/>
                  <a:pt x="606" y="135"/>
                  <a:pt x="609" y="141"/>
                </a:cubicBezTo>
                <a:cubicBezTo>
                  <a:pt x="611" y="147"/>
                  <a:pt x="612" y="153"/>
                  <a:pt x="612" y="160"/>
                </a:cubicBezTo>
                <a:cubicBezTo>
                  <a:pt x="612" y="166"/>
                  <a:pt x="611" y="173"/>
                  <a:pt x="609" y="178"/>
                </a:cubicBezTo>
                <a:cubicBezTo>
                  <a:pt x="606" y="184"/>
                  <a:pt x="603" y="189"/>
                  <a:pt x="599" y="193"/>
                </a:cubicBezTo>
                <a:cubicBezTo>
                  <a:pt x="594" y="197"/>
                  <a:pt x="589" y="201"/>
                  <a:pt x="583" y="203"/>
                </a:cubicBezTo>
                <a:cubicBezTo>
                  <a:pt x="577" y="205"/>
                  <a:pt x="571" y="207"/>
                  <a:pt x="564" y="207"/>
                </a:cubicBezTo>
                <a:moveTo>
                  <a:pt x="507" y="192"/>
                </a:moveTo>
                <a:cubicBezTo>
                  <a:pt x="501" y="196"/>
                  <a:pt x="494" y="200"/>
                  <a:pt x="486" y="202"/>
                </a:cubicBezTo>
                <a:cubicBezTo>
                  <a:pt x="478" y="205"/>
                  <a:pt x="469" y="206"/>
                  <a:pt x="460" y="206"/>
                </a:cubicBezTo>
                <a:cubicBezTo>
                  <a:pt x="450" y="206"/>
                  <a:pt x="440" y="204"/>
                  <a:pt x="432" y="201"/>
                </a:cubicBezTo>
                <a:cubicBezTo>
                  <a:pt x="424" y="198"/>
                  <a:pt x="417" y="194"/>
                  <a:pt x="411" y="188"/>
                </a:cubicBezTo>
                <a:cubicBezTo>
                  <a:pt x="405" y="183"/>
                  <a:pt x="401" y="176"/>
                  <a:pt x="398" y="167"/>
                </a:cubicBezTo>
                <a:cubicBezTo>
                  <a:pt x="394" y="159"/>
                  <a:pt x="393" y="150"/>
                  <a:pt x="393" y="139"/>
                </a:cubicBezTo>
                <a:cubicBezTo>
                  <a:pt x="393" y="129"/>
                  <a:pt x="395" y="120"/>
                  <a:pt x="398" y="112"/>
                </a:cubicBezTo>
                <a:cubicBezTo>
                  <a:pt x="402" y="104"/>
                  <a:pt x="406" y="96"/>
                  <a:pt x="413" y="90"/>
                </a:cubicBezTo>
                <a:cubicBezTo>
                  <a:pt x="419" y="85"/>
                  <a:pt x="427" y="80"/>
                  <a:pt x="435" y="77"/>
                </a:cubicBezTo>
                <a:cubicBezTo>
                  <a:pt x="444" y="73"/>
                  <a:pt x="454" y="72"/>
                  <a:pt x="464" y="72"/>
                </a:cubicBezTo>
                <a:cubicBezTo>
                  <a:pt x="468" y="72"/>
                  <a:pt x="472" y="72"/>
                  <a:pt x="476" y="72"/>
                </a:cubicBezTo>
                <a:cubicBezTo>
                  <a:pt x="480" y="73"/>
                  <a:pt x="484" y="74"/>
                  <a:pt x="487" y="75"/>
                </a:cubicBezTo>
                <a:cubicBezTo>
                  <a:pt x="491" y="76"/>
                  <a:pt x="495" y="77"/>
                  <a:pt x="498" y="78"/>
                </a:cubicBezTo>
                <a:cubicBezTo>
                  <a:pt x="501" y="79"/>
                  <a:pt x="504" y="81"/>
                  <a:pt x="507" y="82"/>
                </a:cubicBezTo>
                <a:cubicBezTo>
                  <a:pt x="493" y="109"/>
                  <a:pt x="493" y="109"/>
                  <a:pt x="493" y="109"/>
                </a:cubicBezTo>
                <a:cubicBezTo>
                  <a:pt x="490" y="108"/>
                  <a:pt x="488" y="107"/>
                  <a:pt x="486" y="106"/>
                </a:cubicBezTo>
                <a:cubicBezTo>
                  <a:pt x="484" y="105"/>
                  <a:pt x="482" y="104"/>
                  <a:pt x="480" y="104"/>
                </a:cubicBezTo>
                <a:cubicBezTo>
                  <a:pt x="478" y="103"/>
                  <a:pt x="476" y="103"/>
                  <a:pt x="474" y="102"/>
                </a:cubicBezTo>
                <a:cubicBezTo>
                  <a:pt x="472" y="102"/>
                  <a:pt x="469" y="102"/>
                  <a:pt x="466" y="102"/>
                </a:cubicBezTo>
                <a:cubicBezTo>
                  <a:pt x="455" y="102"/>
                  <a:pt x="445" y="105"/>
                  <a:pt x="439" y="112"/>
                </a:cubicBezTo>
                <a:cubicBezTo>
                  <a:pt x="432" y="118"/>
                  <a:pt x="428" y="127"/>
                  <a:pt x="428" y="139"/>
                </a:cubicBezTo>
                <a:cubicBezTo>
                  <a:pt x="428" y="144"/>
                  <a:pt x="429" y="149"/>
                  <a:pt x="431" y="154"/>
                </a:cubicBezTo>
                <a:cubicBezTo>
                  <a:pt x="433" y="158"/>
                  <a:pt x="435" y="162"/>
                  <a:pt x="438" y="165"/>
                </a:cubicBezTo>
                <a:cubicBezTo>
                  <a:pt x="441" y="168"/>
                  <a:pt x="445" y="171"/>
                  <a:pt x="449" y="173"/>
                </a:cubicBezTo>
                <a:cubicBezTo>
                  <a:pt x="454" y="175"/>
                  <a:pt x="459" y="175"/>
                  <a:pt x="464" y="175"/>
                </a:cubicBezTo>
                <a:cubicBezTo>
                  <a:pt x="469" y="175"/>
                  <a:pt x="474" y="175"/>
                  <a:pt x="479" y="173"/>
                </a:cubicBezTo>
                <a:cubicBezTo>
                  <a:pt x="484" y="171"/>
                  <a:pt x="489" y="168"/>
                  <a:pt x="493" y="165"/>
                </a:cubicBezTo>
                <a:lnTo>
                  <a:pt x="507" y="192"/>
                </a:lnTo>
                <a:close/>
                <a:moveTo>
                  <a:pt x="126" y="2"/>
                </a:moveTo>
                <a:cubicBezTo>
                  <a:pt x="130" y="1"/>
                  <a:pt x="133" y="1"/>
                  <a:pt x="137" y="0"/>
                </a:cubicBezTo>
                <a:cubicBezTo>
                  <a:pt x="154" y="95"/>
                  <a:pt x="154" y="95"/>
                  <a:pt x="154" y="95"/>
                </a:cubicBezTo>
                <a:cubicBezTo>
                  <a:pt x="150" y="96"/>
                  <a:pt x="146" y="96"/>
                  <a:pt x="143" y="97"/>
                </a:cubicBezTo>
                <a:lnTo>
                  <a:pt x="126" y="2"/>
                </a:lnTo>
                <a:close/>
                <a:moveTo>
                  <a:pt x="122" y="107"/>
                </a:moveTo>
                <a:cubicBezTo>
                  <a:pt x="126" y="105"/>
                  <a:pt x="129" y="102"/>
                  <a:pt x="133" y="101"/>
                </a:cubicBezTo>
                <a:cubicBezTo>
                  <a:pt x="85" y="17"/>
                  <a:pt x="85" y="17"/>
                  <a:pt x="85" y="17"/>
                </a:cubicBezTo>
                <a:cubicBezTo>
                  <a:pt x="82" y="19"/>
                  <a:pt x="78" y="21"/>
                  <a:pt x="74" y="24"/>
                </a:cubicBezTo>
                <a:lnTo>
                  <a:pt x="122" y="107"/>
                </a:lnTo>
                <a:close/>
                <a:moveTo>
                  <a:pt x="95" y="160"/>
                </a:moveTo>
                <a:cubicBezTo>
                  <a:pt x="95" y="156"/>
                  <a:pt x="95" y="153"/>
                  <a:pt x="96" y="149"/>
                </a:cubicBezTo>
                <a:cubicBezTo>
                  <a:pt x="0" y="149"/>
                  <a:pt x="0" y="149"/>
                  <a:pt x="0" y="149"/>
                </a:cubicBezTo>
                <a:cubicBezTo>
                  <a:pt x="0" y="152"/>
                  <a:pt x="0" y="156"/>
                  <a:pt x="0" y="159"/>
                </a:cubicBezTo>
                <a:cubicBezTo>
                  <a:pt x="0" y="162"/>
                  <a:pt x="0" y="165"/>
                  <a:pt x="0" y="169"/>
                </a:cubicBezTo>
                <a:cubicBezTo>
                  <a:pt x="95" y="169"/>
                  <a:pt x="95" y="169"/>
                  <a:pt x="95" y="169"/>
                </a:cubicBezTo>
                <a:cubicBezTo>
                  <a:pt x="95" y="166"/>
                  <a:pt x="95" y="163"/>
                  <a:pt x="95" y="160"/>
                </a:cubicBezTo>
                <a:moveTo>
                  <a:pt x="224" y="160"/>
                </a:moveTo>
                <a:cubicBezTo>
                  <a:pt x="224" y="195"/>
                  <a:pt x="195" y="224"/>
                  <a:pt x="159" y="224"/>
                </a:cubicBezTo>
                <a:cubicBezTo>
                  <a:pt x="128" y="224"/>
                  <a:pt x="101" y="201"/>
                  <a:pt x="96" y="171"/>
                </a:cubicBezTo>
                <a:cubicBezTo>
                  <a:pt x="6" y="203"/>
                  <a:pt x="6" y="203"/>
                  <a:pt x="6" y="203"/>
                </a:cubicBezTo>
                <a:cubicBezTo>
                  <a:pt x="8" y="210"/>
                  <a:pt x="11" y="217"/>
                  <a:pt x="14" y="224"/>
                </a:cubicBezTo>
                <a:cubicBezTo>
                  <a:pt x="103" y="191"/>
                  <a:pt x="103" y="191"/>
                  <a:pt x="103" y="191"/>
                </a:cubicBezTo>
                <a:cubicBezTo>
                  <a:pt x="30" y="253"/>
                  <a:pt x="30" y="253"/>
                  <a:pt x="30" y="253"/>
                </a:cubicBezTo>
                <a:cubicBezTo>
                  <a:pt x="34" y="259"/>
                  <a:pt x="40" y="265"/>
                  <a:pt x="45" y="271"/>
                </a:cubicBezTo>
                <a:cubicBezTo>
                  <a:pt x="113" y="213"/>
                  <a:pt x="113" y="213"/>
                  <a:pt x="113" y="213"/>
                </a:cubicBezTo>
                <a:cubicBezTo>
                  <a:pt x="69" y="291"/>
                  <a:pt x="69" y="291"/>
                  <a:pt x="69" y="291"/>
                </a:cubicBezTo>
                <a:cubicBezTo>
                  <a:pt x="76" y="296"/>
                  <a:pt x="83" y="300"/>
                  <a:pt x="91" y="304"/>
                </a:cubicBezTo>
                <a:cubicBezTo>
                  <a:pt x="133" y="231"/>
                  <a:pt x="133" y="231"/>
                  <a:pt x="133" y="231"/>
                </a:cubicBezTo>
                <a:cubicBezTo>
                  <a:pt x="118" y="314"/>
                  <a:pt x="118" y="314"/>
                  <a:pt x="118" y="314"/>
                </a:cubicBezTo>
                <a:cubicBezTo>
                  <a:pt x="127" y="317"/>
                  <a:pt x="136" y="318"/>
                  <a:pt x="146" y="319"/>
                </a:cubicBezTo>
                <a:cubicBezTo>
                  <a:pt x="159" y="241"/>
                  <a:pt x="159" y="241"/>
                  <a:pt x="159" y="241"/>
                </a:cubicBezTo>
                <a:cubicBezTo>
                  <a:pt x="173" y="319"/>
                  <a:pt x="173" y="319"/>
                  <a:pt x="173" y="319"/>
                </a:cubicBezTo>
                <a:cubicBezTo>
                  <a:pt x="183" y="318"/>
                  <a:pt x="192" y="317"/>
                  <a:pt x="202" y="314"/>
                </a:cubicBezTo>
                <a:cubicBezTo>
                  <a:pt x="189" y="242"/>
                  <a:pt x="189" y="242"/>
                  <a:pt x="189" y="242"/>
                </a:cubicBezTo>
                <a:cubicBezTo>
                  <a:pt x="225" y="305"/>
                  <a:pt x="225" y="305"/>
                  <a:pt x="225" y="305"/>
                </a:cubicBezTo>
                <a:cubicBezTo>
                  <a:pt x="235" y="301"/>
                  <a:pt x="245" y="295"/>
                  <a:pt x="253" y="289"/>
                </a:cubicBezTo>
                <a:cubicBezTo>
                  <a:pt x="220" y="231"/>
                  <a:pt x="220" y="231"/>
                  <a:pt x="220" y="231"/>
                </a:cubicBezTo>
                <a:cubicBezTo>
                  <a:pt x="271" y="274"/>
                  <a:pt x="271" y="274"/>
                  <a:pt x="271" y="274"/>
                </a:cubicBezTo>
                <a:cubicBezTo>
                  <a:pt x="279" y="266"/>
                  <a:pt x="286" y="257"/>
                  <a:pt x="293" y="247"/>
                </a:cubicBezTo>
                <a:cubicBezTo>
                  <a:pt x="247" y="209"/>
                  <a:pt x="247" y="209"/>
                  <a:pt x="247" y="209"/>
                </a:cubicBezTo>
                <a:cubicBezTo>
                  <a:pt x="303" y="229"/>
                  <a:pt x="303" y="229"/>
                  <a:pt x="303" y="229"/>
                </a:cubicBezTo>
                <a:cubicBezTo>
                  <a:pt x="308" y="219"/>
                  <a:pt x="312" y="207"/>
                  <a:pt x="315" y="195"/>
                </a:cubicBezTo>
                <a:cubicBezTo>
                  <a:pt x="266" y="177"/>
                  <a:pt x="266" y="177"/>
                  <a:pt x="266" y="177"/>
                </a:cubicBezTo>
                <a:cubicBezTo>
                  <a:pt x="318" y="177"/>
                  <a:pt x="318" y="177"/>
                  <a:pt x="318" y="177"/>
                </a:cubicBezTo>
                <a:cubicBezTo>
                  <a:pt x="319" y="171"/>
                  <a:pt x="319" y="165"/>
                  <a:pt x="319" y="159"/>
                </a:cubicBezTo>
                <a:cubicBezTo>
                  <a:pt x="319" y="152"/>
                  <a:pt x="318" y="145"/>
                  <a:pt x="317" y="138"/>
                </a:cubicBezTo>
                <a:cubicBezTo>
                  <a:pt x="220" y="138"/>
                  <a:pt x="220" y="138"/>
                  <a:pt x="220" y="138"/>
                </a:cubicBezTo>
                <a:cubicBezTo>
                  <a:pt x="223" y="145"/>
                  <a:pt x="224" y="152"/>
                  <a:pt x="224" y="160"/>
                </a:cubicBezTo>
                <a:moveTo>
                  <a:pt x="97" y="145"/>
                </a:moveTo>
                <a:cubicBezTo>
                  <a:pt x="98" y="139"/>
                  <a:pt x="100" y="134"/>
                  <a:pt x="103" y="129"/>
                </a:cubicBezTo>
                <a:cubicBezTo>
                  <a:pt x="13" y="96"/>
                  <a:pt x="13" y="96"/>
                  <a:pt x="13" y="96"/>
                </a:cubicBezTo>
                <a:cubicBezTo>
                  <a:pt x="11" y="101"/>
                  <a:pt x="9" y="107"/>
                  <a:pt x="7" y="112"/>
                </a:cubicBezTo>
                <a:lnTo>
                  <a:pt x="97" y="145"/>
                </a:lnTo>
                <a:close/>
                <a:moveTo>
                  <a:pt x="280" y="54"/>
                </a:moveTo>
                <a:cubicBezTo>
                  <a:pt x="207" y="115"/>
                  <a:pt x="207" y="115"/>
                  <a:pt x="207" y="115"/>
                </a:cubicBezTo>
                <a:cubicBezTo>
                  <a:pt x="208" y="117"/>
                  <a:pt x="210" y="119"/>
                  <a:pt x="212" y="121"/>
                </a:cubicBezTo>
                <a:cubicBezTo>
                  <a:pt x="285" y="60"/>
                  <a:pt x="285" y="60"/>
                  <a:pt x="285" y="60"/>
                </a:cubicBezTo>
                <a:cubicBezTo>
                  <a:pt x="283" y="58"/>
                  <a:pt x="281" y="56"/>
                  <a:pt x="280" y="54"/>
                </a:cubicBezTo>
                <a:moveTo>
                  <a:pt x="243" y="23"/>
                </a:moveTo>
                <a:cubicBezTo>
                  <a:pt x="241" y="21"/>
                  <a:pt x="238" y="20"/>
                  <a:pt x="236" y="18"/>
                </a:cubicBezTo>
                <a:cubicBezTo>
                  <a:pt x="188" y="102"/>
                  <a:pt x="188" y="102"/>
                  <a:pt x="188" y="102"/>
                </a:cubicBezTo>
                <a:cubicBezTo>
                  <a:pt x="190" y="103"/>
                  <a:pt x="193" y="104"/>
                  <a:pt x="196" y="106"/>
                </a:cubicBezTo>
                <a:lnTo>
                  <a:pt x="243" y="23"/>
                </a:lnTo>
                <a:close/>
                <a:moveTo>
                  <a:pt x="116" y="112"/>
                </a:moveTo>
                <a:cubicBezTo>
                  <a:pt x="42" y="50"/>
                  <a:pt x="42" y="50"/>
                  <a:pt x="42" y="50"/>
                </a:cubicBezTo>
                <a:cubicBezTo>
                  <a:pt x="39" y="54"/>
                  <a:pt x="36" y="58"/>
                  <a:pt x="33" y="62"/>
                </a:cubicBezTo>
                <a:cubicBezTo>
                  <a:pt x="106" y="124"/>
                  <a:pt x="106" y="124"/>
                  <a:pt x="106" y="124"/>
                </a:cubicBezTo>
                <a:cubicBezTo>
                  <a:pt x="109" y="119"/>
                  <a:pt x="112" y="116"/>
                  <a:pt x="116" y="112"/>
                </a:cubicBezTo>
                <a:moveTo>
                  <a:pt x="166" y="95"/>
                </a:moveTo>
                <a:cubicBezTo>
                  <a:pt x="169" y="96"/>
                  <a:pt x="172" y="96"/>
                  <a:pt x="175" y="97"/>
                </a:cubicBezTo>
                <a:cubicBezTo>
                  <a:pt x="192" y="2"/>
                  <a:pt x="192" y="2"/>
                  <a:pt x="192" y="2"/>
                </a:cubicBezTo>
                <a:cubicBezTo>
                  <a:pt x="189" y="1"/>
                  <a:pt x="186" y="1"/>
                  <a:pt x="183" y="0"/>
                </a:cubicBezTo>
                <a:lnTo>
                  <a:pt x="166" y="95"/>
                </a:lnTo>
                <a:close/>
              </a:path>
            </a:pathLst>
          </a:custGeom>
          <a:solidFill>
            <a:schemeClr val="tx1"/>
          </a:solidFill>
          <a:ln>
            <a:noFill/>
          </a:ln>
        </p:spPr>
        <p:txBody>
          <a:bodyPr vert="horz" wrap="square" lIns="121888" tIns="60944" rIns="121888" bIns="60944" numCol="1" anchor="t" anchorCtr="0" compatLnSpc="1">
            <a:prstTxWarp prst="textNoShape">
              <a:avLst/>
            </a:prstTxWarp>
          </a:bodyPr>
          <a:lstStyle/>
          <a:p>
            <a:endParaRPr lang="en-US" sz="3199"/>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3" name="Date">
            <a:extLst>
              <a:ext uri="{FF2B5EF4-FFF2-40B4-BE49-F238E27FC236}">
                <a16:creationId xmlns:a16="http://schemas.microsoft.com/office/drawing/2014/main" id="{A451BCD5-6153-1747-A933-32E8283537C7}"/>
              </a:ext>
            </a:extLst>
          </p:cNvPr>
          <p:cNvSpPr>
            <a:spLocks noGrp="1"/>
          </p:cNvSpPr>
          <p:nvPr>
            <p:ph type="body" sz="quarter" idx="14" hasCustomPrompt="1"/>
          </p:nvPr>
        </p:nvSpPr>
        <p:spPr>
          <a:xfrm>
            <a:off x="9051010" y="6391832"/>
            <a:ext cx="2312452" cy="216670"/>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3" name="Footer Placeholder 2">
            <a:extLst>
              <a:ext uri="{FF2B5EF4-FFF2-40B4-BE49-F238E27FC236}">
                <a16:creationId xmlns:a16="http://schemas.microsoft.com/office/drawing/2014/main" id="{3C75B21E-0BD8-F94F-ABE9-B059D58347A6}"/>
              </a:ext>
            </a:extLst>
          </p:cNvPr>
          <p:cNvSpPr>
            <a:spLocks noGrp="1"/>
          </p:cNvSpPr>
          <p:nvPr>
            <p:ph type="ftr" sz="quarter" idx="16"/>
          </p:nvPr>
        </p:nvSpPr>
        <p:spPr/>
        <p:txBody>
          <a:bodyPr/>
          <a:lstStyle/>
          <a:p>
            <a:r>
              <a:rPr lang="en-US" dirty="0">
                <a:cs typeface="DIN-Light"/>
              </a:rPr>
              <a:t>© 2022 </a:t>
            </a:r>
            <a:r>
              <a:rPr lang="en-US" dirty="0"/>
              <a:t>Collins Aerospace.  | Collins Aerospace Proprietary.  |  This document does not include any export controlled technical data.</a:t>
            </a:r>
          </a:p>
        </p:txBody>
      </p:sp>
    </p:spTree>
    <p:extLst>
      <p:ext uri="{BB962C8B-B14F-4D97-AF65-F5344CB8AC3E}">
        <p14:creationId xmlns:p14="http://schemas.microsoft.com/office/powerpoint/2010/main" val="557117946"/>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8" name="Date"/>
          <p:cNvSpPr>
            <a:spLocks noGrp="1"/>
          </p:cNvSpPr>
          <p:nvPr>
            <p:ph type="body" sz="quarter" idx="14" hasCustomPrompt="1"/>
          </p:nvPr>
        </p:nvSpPr>
        <p:spPr>
          <a:xfrm>
            <a:off x="7290486" y="5262726"/>
            <a:ext cx="2653615" cy="260744"/>
          </a:xfrm>
          <a:noFill/>
        </p:spPr>
        <p:txBody>
          <a:bodyPr/>
          <a:lstStyle>
            <a:lvl1pPr>
              <a:defRPr sz="1400" b="1">
                <a:solidFill>
                  <a:schemeClr val="tx1"/>
                </a:solidFill>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Date</a:t>
            </a:r>
          </a:p>
        </p:txBody>
      </p:sp>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4157404158"/>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userDrawn="1">
  <p:cSld name="2_Custom Layout">
    <p:spTree>
      <p:nvGrpSpPr>
        <p:cNvPr id="1" name=""/>
        <p:cNvGrpSpPr/>
        <p:nvPr/>
      </p:nvGrpSpPr>
      <p:grpSpPr>
        <a:xfrm>
          <a:off x="0" y="0"/>
          <a:ext cx="0" cy="0"/>
          <a:chOff x="0" y="0"/>
          <a:chExt cx="0" cy="0"/>
        </a:xfrm>
      </p:grpSpPr>
      <p:pic>
        <p:nvPicPr>
          <p:cNvPr id="8" name="Picture 7"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0682"/>
            <a:ext cx="12192000" cy="6868682"/>
          </a:xfrm>
          <a:prstGeom prst="rect">
            <a:avLst/>
          </a:prstGeom>
        </p:spPr>
      </p:pic>
      <p:sp>
        <p:nvSpPr>
          <p:cNvPr id="2" name="Title 1"/>
          <p:cNvSpPr>
            <a:spLocks noGrp="1"/>
          </p:cNvSpPr>
          <p:nvPr>
            <p:ph type="title" hasCustomPrompt="1"/>
          </p:nvPr>
        </p:nvSpPr>
        <p:spPr>
          <a:xfrm>
            <a:off x="0" y="850516"/>
            <a:ext cx="12192000" cy="1009281"/>
          </a:xfrm>
          <a:prstGeom prst="rect">
            <a:avLst/>
          </a:prstGeom>
          <a:ln>
            <a:noFill/>
          </a:ln>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11" name="Text Placeholder 10"/>
          <p:cNvSpPr>
            <a:spLocks noGrp="1"/>
          </p:cNvSpPr>
          <p:nvPr>
            <p:ph type="body" sz="quarter" idx="10" hasCustomPrompt="1"/>
          </p:nvPr>
        </p:nvSpPr>
        <p:spPr>
          <a:xfrm>
            <a:off x="0" y="2154644"/>
            <a:ext cx="12192000" cy="2176962"/>
          </a:xfrm>
          <a:prstGeom prst="rect">
            <a:avLst/>
          </a:prstGeom>
        </p:spPr>
        <p:txBody>
          <a:bodyPr vert="horz"/>
          <a:lstStyle>
            <a:lvl1pPr marL="0" indent="0" algn="ctr">
              <a:buNone/>
              <a:defRPr sz="2700" b="1" i="0" baseline="0">
                <a:latin typeface="Arial"/>
                <a:cs typeface="Arial"/>
              </a:defRPr>
            </a:lvl1pPr>
          </a:lstStyle>
          <a:p>
            <a:pPr lvl="0"/>
            <a:r>
              <a:rPr lang="en-US" dirty="0"/>
              <a:t>Name Name, Degrees</a:t>
            </a:r>
          </a:p>
          <a:p>
            <a:pPr lvl="0"/>
            <a:r>
              <a:rPr lang="en-US" dirty="0"/>
              <a:t>Professional Title</a:t>
            </a:r>
          </a:p>
          <a:p>
            <a:pPr lvl="0"/>
            <a:r>
              <a:rPr lang="en-US" dirty="0"/>
              <a:t>Month Date, Year</a:t>
            </a:r>
          </a:p>
        </p:txBody>
      </p:sp>
      <p:pic>
        <p:nvPicPr>
          <p:cNvPr id="3" name="Picture 2" descr="bloomberg.logo.large.vertical.black.pdf"/>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923756" y="4319620"/>
            <a:ext cx="4301067" cy="2159000"/>
          </a:xfrm>
          <a:prstGeom prst="rect">
            <a:avLst/>
          </a:prstGeom>
        </p:spPr>
      </p:pic>
    </p:spTree>
    <p:extLst>
      <p:ext uri="{BB962C8B-B14F-4D97-AF65-F5344CB8AC3E}">
        <p14:creationId xmlns:p14="http://schemas.microsoft.com/office/powerpoint/2010/main" val="126354405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2" name="Picture 1" descr="*Bloomberg.pd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192000" cy="6857999"/>
          </a:xfrm>
          <a:prstGeom prst="rect">
            <a:avLst/>
          </a:prstGeom>
        </p:spPr>
      </p:pic>
      <p:sp>
        <p:nvSpPr>
          <p:cNvPr id="15" name="TextBox 14"/>
          <p:cNvSpPr txBox="1"/>
          <p:nvPr userDrawn="1"/>
        </p:nvSpPr>
        <p:spPr>
          <a:xfrm>
            <a:off x="101600" y="5428428"/>
            <a:ext cx="12192000" cy="544522"/>
          </a:xfrm>
          <a:prstGeom prst="rect">
            <a:avLst/>
          </a:prstGeom>
          <a:noFill/>
        </p:spPr>
        <p:txBody>
          <a:bodyPr wrap="square" lIns="82056" tIns="41028" rIns="82056" bIns="41028" rtlCol="0">
            <a:spAutoFit/>
          </a:bodyPr>
          <a:lstStyle/>
          <a:p>
            <a:pPr algn="ctr"/>
            <a:r>
              <a:rPr lang="en-US" sz="3000" b="0" i="0" dirty="0">
                <a:solidFill>
                  <a:srgbClr val="000000"/>
                </a:solidFill>
                <a:latin typeface="Times New Roman"/>
                <a:cs typeface="Times New Roman"/>
              </a:rPr>
              <a:t>Johns</a:t>
            </a:r>
            <a:r>
              <a:rPr lang="en-US" sz="3000" b="0" i="0" baseline="0" dirty="0">
                <a:solidFill>
                  <a:srgbClr val="000000"/>
                </a:solidFill>
                <a:latin typeface="Times New Roman"/>
                <a:cs typeface="Times New Roman"/>
              </a:rPr>
              <a:t> Hopkins Bloomberg School of Public Health</a:t>
            </a:r>
            <a:endParaRPr lang="en-US" sz="3000" b="0" i="0" dirty="0">
              <a:solidFill>
                <a:srgbClr val="000000"/>
              </a:solidFill>
              <a:latin typeface="Times New Roman"/>
              <a:cs typeface="Times New Roman"/>
            </a:endParaRPr>
          </a:p>
        </p:txBody>
      </p:sp>
      <p:sp>
        <p:nvSpPr>
          <p:cNvPr id="7" name="Title 6"/>
          <p:cNvSpPr>
            <a:spLocks noGrp="1"/>
          </p:cNvSpPr>
          <p:nvPr>
            <p:ph type="title" hasCustomPrompt="1"/>
          </p:nvPr>
        </p:nvSpPr>
        <p:spPr>
          <a:xfrm>
            <a:off x="2" y="839177"/>
            <a:ext cx="12191999" cy="1243434"/>
          </a:xfrm>
          <a:prstGeom prst="rect">
            <a:avLst/>
          </a:prstGeom>
        </p:spPr>
        <p:txBody>
          <a:bodyPr vert="horz"/>
          <a:lstStyle>
            <a:lvl1pPr>
              <a:defRPr sz="5900" b="1" i="0">
                <a:solidFill>
                  <a:srgbClr val="14487F"/>
                </a:solidFill>
                <a:latin typeface="Times New Roman"/>
                <a:cs typeface="Times New Roman"/>
              </a:defRPr>
            </a:lvl1pPr>
          </a:lstStyle>
          <a:p>
            <a:r>
              <a:rPr lang="en-US" dirty="0"/>
              <a:t>Presentation Title</a:t>
            </a:r>
          </a:p>
        </p:txBody>
      </p:sp>
      <p:sp>
        <p:nvSpPr>
          <p:cNvPr id="4" name="Text Placeholder 3"/>
          <p:cNvSpPr>
            <a:spLocks noGrp="1"/>
          </p:cNvSpPr>
          <p:nvPr>
            <p:ph type="body" sz="quarter" idx="10" hasCustomPrompt="1"/>
          </p:nvPr>
        </p:nvSpPr>
        <p:spPr>
          <a:xfrm>
            <a:off x="0" y="2154645"/>
            <a:ext cx="12192000" cy="1610674"/>
          </a:xfrm>
          <a:prstGeom prst="rect">
            <a:avLst/>
          </a:prstGeom>
        </p:spPr>
        <p:txBody>
          <a:bodyPr vert="horz"/>
          <a:lstStyle>
            <a:lvl1pPr marL="0" indent="0" algn="ctr">
              <a:buNone/>
              <a:defRPr sz="2700" b="1" i="0" baseline="0">
                <a:solidFill>
                  <a:schemeClr val="tx1"/>
                </a:solidFill>
                <a:latin typeface="Arial"/>
                <a:cs typeface="Arial"/>
              </a:defRPr>
            </a:lvl1pPr>
          </a:lstStyle>
          <a:p>
            <a:pPr lvl="0"/>
            <a:r>
              <a:rPr lang="en-US" dirty="0"/>
              <a:t>Name Name, Degrees</a:t>
            </a:r>
          </a:p>
          <a:p>
            <a:pPr lvl="0"/>
            <a:r>
              <a:rPr lang="en-US" dirty="0"/>
              <a:t>Professional Title</a:t>
            </a:r>
          </a:p>
          <a:p>
            <a:pPr lvl="0"/>
            <a:r>
              <a:rPr lang="en-US" dirty="0"/>
              <a:t>Month Day, Year</a:t>
            </a:r>
          </a:p>
        </p:txBody>
      </p:sp>
    </p:spTree>
    <p:extLst>
      <p:ext uri="{BB962C8B-B14F-4D97-AF65-F5344CB8AC3E}">
        <p14:creationId xmlns:p14="http://schemas.microsoft.com/office/powerpoint/2010/main" val="24005064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1_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751436570"/>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2 Column">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8611355" y="6356237"/>
            <a:ext cx="2741865" cy="365691"/>
          </a:xfrm>
          <a:prstGeom prst="rect">
            <a:avLst/>
          </a:prstGeom>
        </p:spPr>
        <p:txBody>
          <a:bodyPr/>
          <a:lstStyle/>
          <a:p>
            <a:fld id="{7422CD4A-2F8F-4C49-910D-A58329D88FAA}" type="slidenum">
              <a:rPr lang="en-US" smtClean="0"/>
              <a:t>‹#›</a:t>
            </a:fld>
            <a:endParaRPr lang="en-US"/>
          </a:p>
        </p:txBody>
      </p:sp>
    </p:spTree>
    <p:extLst>
      <p:ext uri="{BB962C8B-B14F-4D97-AF65-F5344CB8AC3E}">
        <p14:creationId xmlns:p14="http://schemas.microsoft.com/office/powerpoint/2010/main" val="1347003718"/>
      </p:ext>
    </p:extLst>
  </p:cSld>
  <p:clrMapOvr>
    <a:masterClrMapping/>
  </p:clrMapOvr>
  <p:extLst>
    <p:ext uri="{DCECCB84-F9BA-43D5-87BE-67443E8EF086}">
      <p15:sldGuideLst xmlns:p15="http://schemas.microsoft.com/office/powerpoint/2012/main">
        <p15:guide id="1" pos="3081">
          <p15:clr>
            <a:srgbClr val="FBAE40"/>
          </p15:clr>
        </p15:guide>
        <p15:guide id="2" pos="1642">
          <p15:clr>
            <a:srgbClr val="FBAE40"/>
          </p15:clr>
        </p15:guide>
        <p15:guide id="3" pos="4522">
          <p15:clr>
            <a:srgbClr val="FBAE40"/>
          </p15:clr>
        </p15:guide>
        <p15:guide id="4" pos="1690">
          <p15:clr>
            <a:srgbClr val="FBAE40"/>
          </p15:clr>
        </p15:guide>
        <p15:guide id="5" pos="4570">
          <p15:clr>
            <a:srgbClr val="FBAE40"/>
          </p15:clr>
        </p15:guide>
        <p15:guide id="6" pos="1594">
          <p15:clr>
            <a:srgbClr val="FBAE40"/>
          </p15:clr>
        </p15:guide>
        <p15:guide id="7" pos="4474">
          <p15:clr>
            <a:srgbClr val="FBAE40"/>
          </p15:clr>
        </p15:guide>
        <p15:guide id="8" pos="3130">
          <p15:clr>
            <a:srgbClr val="FBAE40"/>
          </p15:clr>
        </p15:guide>
        <p15:guide id="9" pos="3034">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p:cSld name="Collins Cover: Logo">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349D2D5C-5099-6840-9993-0DB5894D75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13810" y="2579326"/>
            <a:ext cx="7761201" cy="1313434"/>
          </a:xfrm>
          <a:prstGeom prst="rect">
            <a:avLst/>
          </a:prstGeom>
        </p:spPr>
      </p:pic>
      <p:cxnSp>
        <p:nvCxnSpPr>
          <p:cNvPr id="7" name="Straight Connector 6">
            <a:extLst>
              <a:ext uri="{FF2B5EF4-FFF2-40B4-BE49-F238E27FC236}">
                <a16:creationId xmlns:a16="http://schemas.microsoft.com/office/drawing/2014/main" id="{C4EA3825-3564-6247-895B-B0B7ED3761B6}"/>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2" name="Footer Placeholder 1">
            <a:extLst>
              <a:ext uri="{FF2B5EF4-FFF2-40B4-BE49-F238E27FC236}">
                <a16:creationId xmlns:a16="http://schemas.microsoft.com/office/drawing/2014/main" id="{0E274189-EC72-6748-B5E6-F9DEE34AF2D1}"/>
              </a:ext>
            </a:extLst>
          </p:cNvPr>
          <p:cNvSpPr>
            <a:spLocks noGrp="1"/>
          </p:cNvSpPr>
          <p:nvPr>
            <p:ph type="ftr" sz="quarter" idx="10"/>
          </p:nvPr>
        </p:nvSpPr>
        <p:spPr/>
        <p:txBody>
          <a:bodyPr/>
          <a:lstStyle/>
          <a:p>
            <a:r>
              <a:rPr lang="en-US">
                <a:cs typeface="DIN-Light"/>
              </a:rPr>
              <a:t>© 2022 Collins Aerospace.  | Collins Aerospace Proprietary.  |  This document does not include any export controlled technical data.</a:t>
            </a:r>
            <a:endParaRPr lang="en-US" dirty="0"/>
          </a:p>
        </p:txBody>
      </p:sp>
      <p:pic>
        <p:nvPicPr>
          <p:cNvPr id="5" name="Graphic 4">
            <a:extLst>
              <a:ext uri="{FF2B5EF4-FFF2-40B4-BE49-F238E27FC236}">
                <a16:creationId xmlns:a16="http://schemas.microsoft.com/office/drawing/2014/main" id="{CD3660DF-F5F6-4396-8505-D1083A58F58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13810" y="2579326"/>
            <a:ext cx="7761201" cy="1313434"/>
          </a:xfrm>
          <a:prstGeom prst="rect">
            <a:avLst/>
          </a:prstGeom>
        </p:spPr>
      </p:pic>
      <p:cxnSp>
        <p:nvCxnSpPr>
          <p:cNvPr id="6" name="Straight Connector 5">
            <a:extLst>
              <a:ext uri="{FF2B5EF4-FFF2-40B4-BE49-F238E27FC236}">
                <a16:creationId xmlns:a16="http://schemas.microsoft.com/office/drawing/2014/main" id="{C17C1420-F83A-4A2D-8C48-93168C8CE53B}"/>
              </a:ext>
            </a:extLst>
          </p:cNvPr>
          <p:cNvCxnSpPr>
            <a:cxnSpLocks/>
          </p:cNvCxnSpPr>
          <p:nvPr userDrawn="1"/>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02633569"/>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p:cSld name="Collins Cover: Text">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AB634BC7-2D07-6C4F-AC68-902D1C49E16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95938" y="2575915"/>
            <a:ext cx="5392162" cy="902816"/>
          </a:xfrm>
          <a:prstGeom prst="rect">
            <a:avLst/>
          </a:prstGeom>
        </p:spPr>
      </p:pic>
      <p:sp>
        <p:nvSpPr>
          <p:cNvPr id="7" name="Presenters"/>
          <p:cNvSpPr>
            <a:spLocks noGrp="1"/>
          </p:cNvSpPr>
          <p:nvPr>
            <p:ph type="body" sz="quarter" idx="13" hasCustomPrompt="1"/>
          </p:nvPr>
        </p:nvSpPr>
        <p:spPr>
          <a:xfrm>
            <a:off x="7290486" y="4235572"/>
            <a:ext cx="4215715" cy="635908"/>
          </a:xfrm>
          <a:noFill/>
        </p:spPr>
        <p:txBody>
          <a:bodyPr vert="horz" lIns="0" tIns="0" rIns="0" bIns="0" rtlCol="0">
            <a:noAutofit/>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8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Name, Title, Function. 18 pt. black.</a:t>
            </a:r>
          </a:p>
        </p:txBody>
      </p:sp>
      <p:sp>
        <p:nvSpPr>
          <p:cNvPr id="2" name="Title"/>
          <p:cNvSpPr>
            <a:spLocks noGrp="1"/>
          </p:cNvSpPr>
          <p:nvPr>
            <p:ph type="title" hasCustomPrompt="1"/>
          </p:nvPr>
        </p:nvSpPr>
        <p:spPr>
          <a:xfrm>
            <a:off x="7290486" y="2414671"/>
            <a:ext cx="4215715" cy="1472187"/>
          </a:xfrm>
          <a:noFill/>
        </p:spPr>
        <p:txBody>
          <a:bodyPr anchor="t" anchorCtr="0"/>
          <a:lstStyle>
            <a:lvl1pPr defTabSz="914400">
              <a:spcBef>
                <a:spcPct val="0"/>
              </a:spcBef>
              <a:defRPr sz="3200" spc="300" baseline="0">
                <a:solidFill>
                  <a:schemeClr val="tx1"/>
                </a:solidFill>
              </a:defRPr>
            </a:lvl1pPr>
          </a:lstStyle>
          <a:p>
            <a:pPr lvl="0" defTabSz="914400">
              <a:spcBef>
                <a:spcPct val="0"/>
              </a:spcBef>
            </a:pPr>
            <a:r>
              <a:rPr lang="en-US" dirty="0"/>
              <a:t>TITLE 32 PT. BLACK. REGULAR. UPPERCASE.</a:t>
            </a:r>
          </a:p>
        </p:txBody>
      </p:sp>
      <p:cxnSp>
        <p:nvCxnSpPr>
          <p:cNvPr id="11" name="Straight Connector 10">
            <a:extLst>
              <a:ext uri="{FF2B5EF4-FFF2-40B4-BE49-F238E27FC236}">
                <a16:creationId xmlns:a16="http://schemas.microsoft.com/office/drawing/2014/main" id="{C153567C-9997-D34B-8327-05DCB0239D55}"/>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3" name="Footer Placeholder 2">
            <a:extLst>
              <a:ext uri="{FF2B5EF4-FFF2-40B4-BE49-F238E27FC236}">
                <a16:creationId xmlns:a16="http://schemas.microsoft.com/office/drawing/2014/main" id="{9F7A2505-B409-704A-AC88-1EFFAEA71569}"/>
              </a:ext>
            </a:extLst>
          </p:cNvPr>
          <p:cNvSpPr>
            <a:spLocks noGrp="1"/>
          </p:cNvSpPr>
          <p:nvPr>
            <p:ph type="ftr" sz="quarter" idx="15"/>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9" name="Date Placeholder 4">
            <a:extLst>
              <a:ext uri="{FF2B5EF4-FFF2-40B4-BE49-F238E27FC236}">
                <a16:creationId xmlns:a16="http://schemas.microsoft.com/office/drawing/2014/main" id="{0B64CAF4-449E-4DF9-B990-C06E5C7A5142}"/>
              </a:ext>
            </a:extLst>
          </p:cNvPr>
          <p:cNvSpPr>
            <a:spLocks noGrp="1"/>
          </p:cNvSpPr>
          <p:nvPr>
            <p:ph type="dt" sz="half" idx="12"/>
          </p:nvPr>
        </p:nvSpPr>
        <p:spPr>
          <a:xfrm>
            <a:off x="7290486" y="5262727"/>
            <a:ext cx="2653615" cy="274298"/>
          </a:xfrm>
          <a:noFill/>
        </p:spPr>
        <p:txBody>
          <a:bodyPr vert="horz" lIns="0" tIns="0" rIns="0" bIns="0" rtlCol="0">
            <a:noAutofit/>
          </a:bodyPr>
          <a:lstStyle>
            <a:lvl1pP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974926631"/>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p:cSld name="Collins Cover: Boeing 787">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3544F40-B15B-9347-A626-CCC3B42174A2}"/>
              </a:ext>
            </a:extLst>
          </p:cNvPr>
          <p:cNvPicPr>
            <a:picLocks noChangeAspect="1"/>
          </p:cNvPicPr>
          <p:nvPr/>
        </p:nvPicPr>
        <p:blipFill>
          <a:blip r:embed="rId2"/>
          <a:stretch>
            <a:fillRect/>
          </a:stretch>
        </p:blipFill>
        <p:spPr>
          <a:xfrm>
            <a:off x="0" y="4763"/>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12ADE7C4-C9D6-C340-9D31-184D270C184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9E57AB0E-0F4E-1947-B8B6-7C262AFC57BD}"/>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9" name="Date Placeholder 4">
            <a:extLst>
              <a:ext uri="{FF2B5EF4-FFF2-40B4-BE49-F238E27FC236}">
                <a16:creationId xmlns:a16="http://schemas.microsoft.com/office/drawing/2014/main" id="{91D9C732-02B9-43DD-804C-67E9914A7B20}"/>
              </a:ext>
            </a:extLst>
          </p:cNvPr>
          <p:cNvSpPr>
            <a:spLocks noGrp="1"/>
          </p:cNvSpPr>
          <p:nvPr>
            <p:ph type="dt" sz="half" idx="12"/>
          </p:nvPr>
        </p:nvSpPr>
        <p:spPr>
          <a:xfrm>
            <a:off x="9051010" y="6402278"/>
            <a:ext cx="2312452" cy="216670"/>
          </a:xfrm>
          <a:noFill/>
        </p:spPr>
        <p:txBody>
          <a:bodyPr vert="horz" lIns="0" tIns="0" rIns="0" bIns="0" rtlCol="0">
            <a:noAutofit/>
          </a:bodyPr>
          <a:lstStyle>
            <a:lvl1pPr algn="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593452395"/>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ollins Cover: Military JTAC">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CF0772C-4F06-5740-8477-5DD44F33AC88}"/>
              </a:ext>
            </a:extLst>
          </p:cNvPr>
          <p:cNvPicPr>
            <a:picLocks noChangeAspect="1"/>
          </p:cNvPicPr>
          <p:nvPr/>
        </p:nvPicPr>
        <p:blipFill>
          <a:blip r:embed="rId2"/>
          <a:stretch>
            <a:fillRect/>
          </a:stretch>
        </p:blipFill>
        <p:spPr>
          <a:xfrm>
            <a:off x="3175" y="0"/>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4AAEFDDF-E94C-534C-B962-F3657664643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71038D9C-104A-C24D-AB2E-5EAAFDCF97F0}"/>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12" name="Date Placeholder 4">
            <a:extLst>
              <a:ext uri="{FF2B5EF4-FFF2-40B4-BE49-F238E27FC236}">
                <a16:creationId xmlns:a16="http://schemas.microsoft.com/office/drawing/2014/main" id="{53246AEB-63B4-4B15-AC5A-81ADDDAD5BF9}"/>
              </a:ext>
            </a:extLst>
          </p:cNvPr>
          <p:cNvSpPr>
            <a:spLocks noGrp="1"/>
          </p:cNvSpPr>
          <p:nvPr>
            <p:ph type="dt" sz="half" idx="12"/>
          </p:nvPr>
        </p:nvSpPr>
        <p:spPr>
          <a:xfrm>
            <a:off x="9051010" y="6402278"/>
            <a:ext cx="2312452" cy="216670"/>
          </a:xfrm>
          <a:noFill/>
        </p:spPr>
        <p:txBody>
          <a:bodyPr vert="horz" lIns="0" tIns="0" rIns="0" bIns="0" rtlCol="0">
            <a:noAutofit/>
          </a:bodyPr>
          <a:lstStyle>
            <a:lvl1pPr algn="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1752973013"/>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p:cSld name="Collins Cover: Bombardier Challenger">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A8376E2-3CB4-9045-8931-A3609F0A1599}"/>
              </a:ext>
            </a:extLst>
          </p:cNvPr>
          <p:cNvPicPr>
            <a:picLocks noChangeAspect="1"/>
          </p:cNvPicPr>
          <p:nvPr/>
        </p:nvPicPr>
        <p:blipFill>
          <a:blip r:embed="rId2"/>
          <a:stretch>
            <a:fillRect/>
          </a:stretch>
        </p:blipFill>
        <p:spPr>
          <a:xfrm>
            <a:off x="3175" y="0"/>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pic>
        <p:nvPicPr>
          <p:cNvPr id="8" name="Graphic 7">
            <a:extLst>
              <a:ext uri="{FF2B5EF4-FFF2-40B4-BE49-F238E27FC236}">
                <a16:creationId xmlns:a16="http://schemas.microsoft.com/office/drawing/2014/main" id="{2CC691F9-2696-8A42-9AE2-E828441D09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D167C4F7-4602-644E-8974-9A2BD1FBE32C}"/>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10" name="Date Placeholder 4">
            <a:extLst>
              <a:ext uri="{FF2B5EF4-FFF2-40B4-BE49-F238E27FC236}">
                <a16:creationId xmlns:a16="http://schemas.microsoft.com/office/drawing/2014/main" id="{05875C39-33FA-4D75-B72E-4F508CA7E1F5}"/>
              </a:ext>
            </a:extLst>
          </p:cNvPr>
          <p:cNvSpPr>
            <a:spLocks noGrp="1"/>
          </p:cNvSpPr>
          <p:nvPr>
            <p:ph type="dt" sz="half" idx="12"/>
          </p:nvPr>
        </p:nvSpPr>
        <p:spPr>
          <a:xfrm>
            <a:off x="9051010" y="6402278"/>
            <a:ext cx="2312452" cy="216670"/>
          </a:xfrm>
          <a:noFill/>
        </p:spPr>
        <p:txBody>
          <a:bodyPr vert="horz" lIns="0" tIns="0" rIns="0" bIns="0" rtlCol="0">
            <a:noAutofit/>
          </a:bodyPr>
          <a:lstStyle>
            <a:lvl1pPr algn="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1380609535"/>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p:cSld name="Collins Cover: UH-60 Blackhawk">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6D93502-0A19-3C4D-8E40-85252E84B68F}"/>
              </a:ext>
            </a:extLst>
          </p:cNvPr>
          <p:cNvPicPr>
            <a:picLocks noChangeAspect="1"/>
          </p:cNvPicPr>
          <p:nvPr/>
        </p:nvPicPr>
        <p:blipFill>
          <a:blip r:embed="rId2"/>
          <a:stretch>
            <a:fillRect/>
          </a:stretch>
        </p:blipFill>
        <p:spPr>
          <a:xfrm>
            <a:off x="0" y="0"/>
            <a:ext cx="12192000" cy="5010150"/>
          </a:xfrm>
          <a:prstGeom prst="rect">
            <a:avLst/>
          </a:prstGeom>
        </p:spPr>
      </p:pic>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cxnSp>
        <p:nvCxnSpPr>
          <p:cNvPr id="11" name="Straight Connector 10">
            <a:extLst>
              <a:ext uri="{FF2B5EF4-FFF2-40B4-BE49-F238E27FC236}">
                <a16:creationId xmlns:a16="http://schemas.microsoft.com/office/drawing/2014/main" id="{E648BD36-0B39-4245-A543-F4FCE86E5E97}"/>
              </a:ext>
            </a:extLst>
          </p:cNvPr>
          <p:cNvCxnSpPr>
            <a:cxnSpLocks/>
          </p:cNvCxnSpPr>
          <p:nvPr/>
        </p:nvCxnSpPr>
        <p:spPr>
          <a:xfrm>
            <a:off x="752528" y="24766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pic>
        <p:nvPicPr>
          <p:cNvPr id="10" name="Graphic 9">
            <a:extLst>
              <a:ext uri="{FF2B5EF4-FFF2-40B4-BE49-F238E27FC236}">
                <a16:creationId xmlns:a16="http://schemas.microsoft.com/office/drawing/2014/main" id="{A787AB98-5F2A-FF41-A513-9AE47180BD8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72096" y="5526826"/>
            <a:ext cx="3071203" cy="514215"/>
          </a:xfrm>
          <a:prstGeom prst="rect">
            <a:avLst/>
          </a:prstGeom>
        </p:spPr>
      </p:pic>
      <p:sp>
        <p:nvSpPr>
          <p:cNvPr id="3" name="Footer Placeholder 2">
            <a:extLst>
              <a:ext uri="{FF2B5EF4-FFF2-40B4-BE49-F238E27FC236}">
                <a16:creationId xmlns:a16="http://schemas.microsoft.com/office/drawing/2014/main" id="{2F5A6B71-801B-4548-95BF-EFDC7CD73175}"/>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12" name="Date Placeholder 4">
            <a:extLst>
              <a:ext uri="{FF2B5EF4-FFF2-40B4-BE49-F238E27FC236}">
                <a16:creationId xmlns:a16="http://schemas.microsoft.com/office/drawing/2014/main" id="{F4F1C7AA-9F26-4054-A4F3-21ED1E379BD6}"/>
              </a:ext>
            </a:extLst>
          </p:cNvPr>
          <p:cNvSpPr>
            <a:spLocks noGrp="1"/>
          </p:cNvSpPr>
          <p:nvPr>
            <p:ph type="dt" sz="half" idx="12"/>
          </p:nvPr>
        </p:nvSpPr>
        <p:spPr>
          <a:xfrm>
            <a:off x="9051010" y="6402278"/>
            <a:ext cx="2312452" cy="216670"/>
          </a:xfrm>
          <a:noFill/>
        </p:spPr>
        <p:txBody>
          <a:bodyPr vert="horz" lIns="0" tIns="0" rIns="0" bIns="0" rtlCol="0">
            <a:noAutofit/>
          </a:bodyPr>
          <a:lstStyle>
            <a:lvl1pPr algn="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3955870377"/>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p:cSld name="Collins Cover: Text/Photo">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E59C32A5-B4BB-BB4B-AE67-DCED005C66B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2096" y="5526826"/>
            <a:ext cx="3071203" cy="514215"/>
          </a:xfrm>
          <a:prstGeom prst="rect">
            <a:avLst/>
          </a:prstGeom>
        </p:spPr>
      </p:pic>
      <p:sp>
        <p:nvSpPr>
          <p:cNvPr id="12" name="Picture Placeholder 5"/>
          <p:cNvSpPr>
            <a:spLocks noGrp="1"/>
          </p:cNvSpPr>
          <p:nvPr>
            <p:ph type="pic" sz="quarter" idx="16" hasCustomPrompt="1"/>
          </p:nvPr>
        </p:nvSpPr>
        <p:spPr>
          <a:xfrm>
            <a:off x="-7938" y="-23813"/>
            <a:ext cx="12199938" cy="5014913"/>
          </a:xfrm>
          <a:solidFill>
            <a:schemeClr val="bg2"/>
          </a:solidFill>
        </p:spPr>
        <p:txBody>
          <a:bodyPr tIns="365760"/>
          <a:lstStyle>
            <a:lvl1pPr marL="285750" indent="0" algn="l">
              <a:buNone/>
              <a:tabLst>
                <a:tab pos="225425" algn="l"/>
              </a:tabLst>
              <a:defRPr lang="en-US" b="0" dirty="0"/>
            </a:lvl1pPr>
            <a:lvl2pPr marL="400050" marR="0" indent="0" algn="l" defTabSz="914400" rtl="0" eaLnBrk="1" fontAlgn="auto" latinLnBrk="0" hangingPunct="1">
              <a:lnSpc>
                <a:spcPct val="90000"/>
              </a:lnSpc>
              <a:spcBef>
                <a:spcPts val="200"/>
              </a:spcBef>
              <a:spcAft>
                <a:spcPts val="0"/>
              </a:spcAft>
              <a:buClr>
                <a:schemeClr val="tx2"/>
              </a:buClr>
              <a:buSzPct val="100000"/>
              <a:buFont typeface="Arial" panose="020B0604020202020204" pitchFamily="34" charset="0"/>
              <a:buNone/>
              <a:tabLst/>
              <a:defRPr b="0">
                <a:solidFill>
                  <a:schemeClr val="tx1"/>
                </a:solidFill>
              </a:defRPr>
            </a:lvl2pPr>
          </a:lstStyle>
          <a:p>
            <a:pPr marL="285750" marR="0" lvl="0" indent="-285750" algn="l" defTabSz="0" rtl="0" eaLnBrk="1" fontAlgn="auto" latinLnBrk="0" hangingPunct="1">
              <a:lnSpc>
                <a:spcPct val="90000"/>
              </a:lnSpc>
              <a:spcBef>
                <a:spcPts val="0"/>
              </a:spcBef>
              <a:spcAft>
                <a:spcPts val="0"/>
              </a:spcAft>
              <a:buClr>
                <a:schemeClr val="tx2"/>
              </a:buClr>
              <a:buSzPct val="115000"/>
              <a:tabLst>
                <a:tab pos="225425" algn="l"/>
              </a:tabLst>
              <a:defRPr/>
            </a:pPr>
            <a:r>
              <a:rPr lang="en-US" dirty="0"/>
              <a:t>To add a new cover image to your presentation, use the following steps: 1 -  Select “Insert” in the top navigation ribbon and choose “Picture”/”Picture from File…”  2 – Locate the new image and choose “Insert”. To adjust how the image displays, use the “Crop” feature. </a:t>
            </a:r>
          </a:p>
        </p:txBody>
      </p:sp>
      <p:sp>
        <p:nvSpPr>
          <p:cNvPr id="2" name="Title"/>
          <p:cNvSpPr>
            <a:spLocks noGrp="1"/>
          </p:cNvSpPr>
          <p:nvPr>
            <p:ph type="title" hasCustomPrompt="1"/>
          </p:nvPr>
        </p:nvSpPr>
        <p:spPr>
          <a:xfrm>
            <a:off x="4257535" y="5297244"/>
            <a:ext cx="7105927" cy="566816"/>
          </a:xfrm>
          <a:noFill/>
        </p:spPr>
        <p:txBody>
          <a:bodyPr anchor="b" anchorCtr="0"/>
          <a:lstStyle>
            <a:lvl1pPr defTabSz="914400">
              <a:spcBef>
                <a:spcPct val="0"/>
              </a:spcBef>
              <a:defRPr sz="2200">
                <a:solidFill>
                  <a:schemeClr val="tx1"/>
                </a:solidFill>
              </a:defRPr>
            </a:lvl1pPr>
          </a:lstStyle>
          <a:p>
            <a:pPr lvl="0" defTabSz="914400">
              <a:spcBef>
                <a:spcPct val="0"/>
              </a:spcBef>
            </a:pPr>
            <a:r>
              <a:rPr lang="en-US" dirty="0"/>
              <a:t>TITLE 22 PT. BLACK. REGULAR. UPPERCASE.</a:t>
            </a:r>
          </a:p>
        </p:txBody>
      </p:sp>
      <p:sp>
        <p:nvSpPr>
          <p:cNvPr id="5" name="Text Placeholder 4"/>
          <p:cNvSpPr>
            <a:spLocks noGrp="1"/>
          </p:cNvSpPr>
          <p:nvPr>
            <p:ph type="body" sz="quarter" idx="15" hasCustomPrompt="1"/>
          </p:nvPr>
        </p:nvSpPr>
        <p:spPr>
          <a:xfrm>
            <a:off x="4257535" y="6041041"/>
            <a:ext cx="7105927" cy="216670"/>
          </a:xfrm>
          <a:noFill/>
        </p:spPr>
        <p:txBody>
          <a:bodyPr/>
          <a:lstStyle>
            <a:lvl1pPr marL="0" marR="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sz="1600" b="0" baseline="0">
                <a:solidFill>
                  <a:schemeClr val="tx1"/>
                </a:solidFill>
              </a:defRPr>
            </a:lvl1pPr>
          </a:lstStyle>
          <a:p>
            <a:pPr marL="0" marR="0" lvl="0" indent="0" algn="l" defTabSz="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Regular. Sentence case.</a:t>
            </a:r>
          </a:p>
        </p:txBody>
      </p:sp>
      <p:sp>
        <p:nvSpPr>
          <p:cNvPr id="3" name="Footer Placeholder 2">
            <a:extLst>
              <a:ext uri="{FF2B5EF4-FFF2-40B4-BE49-F238E27FC236}">
                <a16:creationId xmlns:a16="http://schemas.microsoft.com/office/drawing/2014/main" id="{99D50E0E-E97D-0A43-A395-AC30E466A054}"/>
              </a:ext>
            </a:extLst>
          </p:cNvPr>
          <p:cNvSpPr>
            <a:spLocks noGrp="1"/>
          </p:cNvSpPr>
          <p:nvPr>
            <p:ph type="ftr" sz="quarter" idx="17"/>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9" name="Date Placeholder 4">
            <a:extLst>
              <a:ext uri="{FF2B5EF4-FFF2-40B4-BE49-F238E27FC236}">
                <a16:creationId xmlns:a16="http://schemas.microsoft.com/office/drawing/2014/main" id="{50007201-001E-44BC-B65E-D0A46B577A9E}"/>
              </a:ext>
            </a:extLst>
          </p:cNvPr>
          <p:cNvSpPr>
            <a:spLocks noGrp="1"/>
          </p:cNvSpPr>
          <p:nvPr>
            <p:ph type="dt" sz="half" idx="12"/>
          </p:nvPr>
        </p:nvSpPr>
        <p:spPr>
          <a:xfrm>
            <a:off x="9051010" y="6402278"/>
            <a:ext cx="2312452" cy="216670"/>
          </a:xfrm>
          <a:noFill/>
        </p:spPr>
        <p:txBody>
          <a:bodyPr vert="horz" lIns="0" tIns="0" rIns="0" bIns="0" rtlCol="0">
            <a:noAutofit/>
          </a:bodyPr>
          <a:lstStyle>
            <a:lvl1pPr algn="r">
              <a:defRPr lang="en-US" sz="1400" b="1" baseline="0" smtClean="0">
                <a:solidFill>
                  <a:schemeClr val="tx1"/>
                </a:solidFill>
                <a:latin typeface="Arial" panose="020B0604020202020204" pitchFamily="34" charset="0"/>
                <a:cs typeface="Arial" panose="020B0604020202020204" pitchFamily="34" charset="0"/>
              </a:defRPr>
            </a:lvl1pPr>
          </a:lstStyle>
          <a:p>
            <a:pPr>
              <a:spcAft>
                <a:spcPts val="600"/>
              </a:spcAft>
              <a:buClr>
                <a:schemeClr val="tx2"/>
              </a:buClr>
              <a:buSzPct val="75000"/>
              <a:buFont typeface="Arial" panose="020B0604020202020204" pitchFamily="34" charset="0"/>
              <a:buNone/>
            </a:pPr>
            <a:endParaRPr lang="en-US"/>
          </a:p>
        </p:txBody>
      </p:sp>
    </p:spTree>
    <p:extLst>
      <p:ext uri="{BB962C8B-B14F-4D97-AF65-F5344CB8AC3E}">
        <p14:creationId xmlns:p14="http://schemas.microsoft.com/office/powerpoint/2010/main" val="308342919"/>
      </p:ext>
    </p:extLst>
  </p:cSld>
  <p:clrMapOvr>
    <a:masterClrMapping/>
  </p:clrMapOvr>
  <p:extLst>
    <p:ext uri="{DCECCB84-F9BA-43D5-87BE-67443E8EF086}">
      <p15:sldGuideLst xmlns:p15="http://schemas.microsoft.com/office/powerpoint/2012/main">
        <p15:guide id="1" orient="horz" pos="3552">
          <p15:clr>
            <a:srgbClr val="FBAE40"/>
          </p15:clr>
        </p15:guide>
        <p15:guide id="2" orient="horz" pos="3144">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Collins Section Break">
    <p:spTree>
      <p:nvGrpSpPr>
        <p:cNvPr id="1" name=""/>
        <p:cNvGrpSpPr/>
        <p:nvPr/>
      </p:nvGrpSpPr>
      <p:grpSpPr>
        <a:xfrm>
          <a:off x="0" y="0"/>
          <a:ext cx="0" cy="0"/>
          <a:chOff x="0" y="0"/>
          <a:chExt cx="0" cy="0"/>
        </a:xfrm>
      </p:grpSpPr>
      <p:sp>
        <p:nvSpPr>
          <p:cNvPr id="9"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6" name="Presenters"/>
          <p:cNvSpPr>
            <a:spLocks noGrp="1"/>
          </p:cNvSpPr>
          <p:nvPr>
            <p:ph type="body" sz="quarter" idx="13" hasCustomPrompt="1"/>
          </p:nvPr>
        </p:nvSpPr>
        <p:spPr>
          <a:xfrm>
            <a:off x="694943" y="5387546"/>
            <a:ext cx="8980931" cy="380208"/>
          </a:xfrm>
          <a:noFill/>
        </p:spPr>
        <p:txBody>
          <a:bodyPr vert="horz" lIns="0" tIns="0" rIns="0" bIns="0" rtlCol="0" anchor="b" anchorCtr="0">
            <a:no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lang="en-US" sz="1600" b="0" baseline="0">
                <a:solidFill>
                  <a:schemeClr val="tx1"/>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6 pt. black. Sentence case.</a:t>
            </a:r>
          </a:p>
        </p:txBody>
      </p:sp>
      <p:sp>
        <p:nvSpPr>
          <p:cNvPr id="5" name="Freeform 4">
            <a:extLst>
              <a:ext uri="{FF2B5EF4-FFF2-40B4-BE49-F238E27FC236}">
                <a16:creationId xmlns:a16="http://schemas.microsoft.com/office/drawing/2014/main" id="{007B205E-F640-7242-8F99-8DBCDE90BFA9}"/>
              </a:ext>
            </a:extLst>
          </p:cNvPr>
          <p:cNvSpPr/>
          <p:nvPr/>
        </p:nvSpPr>
        <p:spPr>
          <a:xfrm>
            <a:off x="358346" y="345295"/>
            <a:ext cx="11479427" cy="5598305"/>
          </a:xfrm>
          <a:custGeom>
            <a:avLst/>
            <a:gdLst>
              <a:gd name="connsiteX0" fmla="*/ 385314 w 8620665"/>
              <a:gd name="connsiteY0" fmla="*/ 0 h 4014159"/>
              <a:gd name="connsiteX1" fmla="*/ 8620665 w 8620665"/>
              <a:gd name="connsiteY1" fmla="*/ 0 h 4014159"/>
              <a:gd name="connsiteX2" fmla="*/ 8620665 w 8620665"/>
              <a:gd name="connsiteY2" fmla="*/ 4014159 h 4014159"/>
              <a:gd name="connsiteX3" fmla="*/ 0 w 8620665"/>
              <a:gd name="connsiteY3" fmla="*/ 4014159 h 4014159"/>
              <a:gd name="connsiteX4" fmla="*/ 0 w 8620665"/>
              <a:gd name="connsiteY4" fmla="*/ 408317 h 4014159"/>
              <a:gd name="connsiteX0" fmla="*/ 304632 w 8620665"/>
              <a:gd name="connsiteY0" fmla="*/ 8965 h 4014159"/>
              <a:gd name="connsiteX1" fmla="*/ 8620665 w 8620665"/>
              <a:gd name="connsiteY1" fmla="*/ 0 h 4014159"/>
              <a:gd name="connsiteX2" fmla="*/ 8620665 w 8620665"/>
              <a:gd name="connsiteY2" fmla="*/ 4014159 h 4014159"/>
              <a:gd name="connsiteX3" fmla="*/ 0 w 8620665"/>
              <a:gd name="connsiteY3" fmla="*/ 4014159 h 4014159"/>
              <a:gd name="connsiteX4" fmla="*/ 0 w 8620665"/>
              <a:gd name="connsiteY4" fmla="*/ 408317 h 4014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20665" h="4014159">
                <a:moveTo>
                  <a:pt x="304632" y="8965"/>
                </a:moveTo>
                <a:lnTo>
                  <a:pt x="8620665" y="0"/>
                </a:lnTo>
                <a:lnTo>
                  <a:pt x="8620665" y="4014159"/>
                </a:lnTo>
                <a:lnTo>
                  <a:pt x="0" y="4014159"/>
                </a:lnTo>
                <a:lnTo>
                  <a:pt x="0" y="408317"/>
                </a:lnTo>
              </a:path>
            </a:pathLst>
          </a:custGeom>
          <a:noFill/>
          <a:ln w="19050">
            <a:solidFill>
              <a:srgbClr val="CE1126"/>
            </a:solidFill>
            <a:headEnd type="oval" w="sm" len="sm"/>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p>
        </p:txBody>
      </p:sp>
      <p:sp>
        <p:nvSpPr>
          <p:cNvPr id="8" name="Section title">
            <a:extLst>
              <a:ext uri="{FF2B5EF4-FFF2-40B4-BE49-F238E27FC236}">
                <a16:creationId xmlns:a16="http://schemas.microsoft.com/office/drawing/2014/main" id="{FB96A9C0-602E-4E40-BB2F-1E0A929E9E44}"/>
              </a:ext>
            </a:extLst>
          </p:cNvPr>
          <p:cNvSpPr>
            <a:spLocks noGrp="1"/>
          </p:cNvSpPr>
          <p:nvPr>
            <p:ph type="title" hasCustomPrompt="1"/>
          </p:nvPr>
        </p:nvSpPr>
        <p:spPr>
          <a:xfrm>
            <a:off x="694944" y="2854411"/>
            <a:ext cx="8980931" cy="2533135"/>
          </a:xfrm>
          <a:noFill/>
        </p:spPr>
        <p:txBody>
          <a:bodyPr vert="horz" wrap="square" lIns="0" tIns="0" rIns="0" bIns="0" rtlCol="0" anchor="b" anchorCtr="0">
            <a:noAutofit/>
          </a:bodyPr>
          <a:lstStyle>
            <a:lvl1pPr>
              <a:defRPr lang="en-US" sz="4500" b="0" cap="all" baseline="0" dirty="0">
                <a:latin typeface="Arial" panose="020B0604020202020204" pitchFamily="34" charset="0"/>
                <a:ea typeface="+mn-ea"/>
                <a:cs typeface="Arial" panose="020B0604020202020204" pitchFamily="34" charset="0"/>
              </a:defRPr>
            </a:lvl1pPr>
          </a:lstStyle>
          <a:p>
            <a:pPr marL="0" lvl="0">
              <a:spcBef>
                <a:spcPts val="1000"/>
              </a:spcBef>
              <a:buSzPct val="115000"/>
              <a:buFont typeface="Arial" panose="020B0604020202020204" pitchFamily="34" charset="0"/>
            </a:pPr>
            <a:r>
              <a:rPr lang="en-US" dirty="0"/>
              <a:t>SECTION TITLE. 45 PT. BLACK. REGULAR. UPPERCASE</a:t>
            </a:r>
          </a:p>
        </p:txBody>
      </p:sp>
      <p:sp>
        <p:nvSpPr>
          <p:cNvPr id="2" name="Footer Placeholder 1">
            <a:extLst>
              <a:ext uri="{FF2B5EF4-FFF2-40B4-BE49-F238E27FC236}">
                <a16:creationId xmlns:a16="http://schemas.microsoft.com/office/drawing/2014/main" id="{A31D75C1-9F8C-0245-BAA7-15A97DC4E16F}"/>
              </a:ext>
            </a:extLst>
          </p:cNvPr>
          <p:cNvSpPr>
            <a:spLocks noGrp="1"/>
          </p:cNvSpPr>
          <p:nvPr>
            <p:ph type="ftr" sz="quarter" idx="14"/>
          </p:nvPr>
        </p:nvSpPr>
        <p:spPr/>
        <p:txBody>
          <a:bodyPr/>
          <a:lstStyle/>
          <a:p>
            <a:r>
              <a:rPr lang="en-US">
                <a:cs typeface="DIN-Light"/>
              </a:rPr>
              <a:t>© 2022 Collins Aerospace.  | Collins Aerospace Proprietary.  |  This document does not include any export controlled technical data.</a:t>
            </a:r>
            <a:endParaRPr lang="en-US" dirty="0"/>
          </a:p>
        </p:txBody>
      </p:sp>
      <p:pic>
        <p:nvPicPr>
          <p:cNvPr id="7" name="Graphic 6">
            <a:extLst>
              <a:ext uri="{FF2B5EF4-FFF2-40B4-BE49-F238E27FC236}">
                <a16:creationId xmlns:a16="http://schemas.microsoft.com/office/drawing/2014/main" id="{02987A25-04E0-42F0-A5A6-144DC2FDAB7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39469" y="6282751"/>
            <a:ext cx="1307035" cy="216396"/>
          </a:xfrm>
          <a:prstGeom prst="rect">
            <a:avLst/>
          </a:prstGeom>
        </p:spPr>
      </p:pic>
    </p:spTree>
    <p:extLst>
      <p:ext uri="{BB962C8B-B14F-4D97-AF65-F5344CB8AC3E}">
        <p14:creationId xmlns:p14="http://schemas.microsoft.com/office/powerpoint/2010/main" val="3900375448"/>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Collins Content: 1 column">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F60EDAC1-8055-B14A-90F8-71A97F17FF14}"/>
              </a:ext>
            </a:extLst>
          </p:cNvPr>
          <p:cNvSpPr>
            <a:spLocks noGrp="1"/>
          </p:cNvSpPr>
          <p:nvPr>
            <p:ph type="ftr" sz="quarter" idx="16"/>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4" name="Body">
            <a:extLst>
              <a:ext uri="{FF2B5EF4-FFF2-40B4-BE49-F238E27FC236}">
                <a16:creationId xmlns:a16="http://schemas.microsoft.com/office/drawing/2014/main" id="{D00119A4-DE1F-4380-90A7-FA0A9C7D4582}"/>
              </a:ext>
            </a:extLst>
          </p:cNvPr>
          <p:cNvSpPr>
            <a:spLocks noGrp="1"/>
          </p:cNvSpPr>
          <p:nvPr>
            <p:ph sz="quarter" idx="17" hasCustomPrompt="1"/>
          </p:nvPr>
        </p:nvSpPr>
        <p:spPr>
          <a:xfrm>
            <a:off x="685800" y="1476375"/>
            <a:ext cx="10829925" cy="3781425"/>
          </a:xfrm>
        </p:spPr>
        <p:txBody>
          <a:bodyPr/>
          <a:lstStyle>
            <a:lvl1pPr>
              <a:defRPr sz="2200"/>
            </a:lvl1pPr>
            <a:lvl2pPr>
              <a:defRPr sz="2000"/>
            </a:lvl2pPr>
            <a:lvl3pPr>
              <a:defRPr sz="1800"/>
            </a:lvl3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lstStyle>
            <a:lvl1pPr>
              <a:lnSpc>
                <a:spcPct val="80000"/>
              </a:lnSpc>
              <a:defRPr b="0"/>
            </a:lvl1pPr>
          </a:lstStyle>
          <a:p>
            <a:r>
              <a:rPr lang="en-US" dirty="0"/>
              <a:t>TITLE. 32 PT. BLACK. REGULAR. UPPERCASE. TWO LINES MAX.</a:t>
            </a:r>
          </a:p>
        </p:txBody>
      </p:sp>
    </p:spTree>
    <p:extLst>
      <p:ext uri="{BB962C8B-B14F-4D97-AF65-F5344CB8AC3E}">
        <p14:creationId xmlns:p14="http://schemas.microsoft.com/office/powerpoint/2010/main" val="1071039944"/>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Collins Content: 1 column/subhead">
    <p:spTree>
      <p:nvGrpSpPr>
        <p:cNvPr id="1" name=""/>
        <p:cNvGrpSpPr/>
        <p:nvPr/>
      </p:nvGrpSpPr>
      <p:grpSpPr>
        <a:xfrm>
          <a:off x="0" y="0"/>
          <a:ext cx="0" cy="0"/>
          <a:chOff x="0" y="0"/>
          <a:chExt cx="0" cy="0"/>
        </a:xfrm>
      </p:grpSpPr>
      <p:sp>
        <p:nvSpPr>
          <p:cNvPr id="15"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2" name="Footer Placeholder 1">
            <a:extLst>
              <a:ext uri="{FF2B5EF4-FFF2-40B4-BE49-F238E27FC236}">
                <a16:creationId xmlns:a16="http://schemas.microsoft.com/office/drawing/2014/main" id="{E8CC1998-8757-C840-AADE-7B8BA99317B4}"/>
              </a:ext>
            </a:extLst>
          </p:cNvPr>
          <p:cNvSpPr>
            <a:spLocks noGrp="1"/>
          </p:cNvSpPr>
          <p:nvPr>
            <p:ph type="ftr" sz="quarter" idx="18"/>
          </p:nvPr>
        </p:nvSpPr>
        <p:spPr/>
        <p:txBody>
          <a:bodyPr/>
          <a:lstStyle/>
          <a:p>
            <a:r>
              <a:rPr lang="en-US">
                <a:cs typeface="DIN-Light"/>
              </a:rPr>
              <a:t>© 2022 Collins Aerospace.  | Collins Aerospace Proprietary.  |  This document does not include any export controlled technical data.</a:t>
            </a:r>
            <a:endParaRPr lang="en-US" dirty="0"/>
          </a:p>
        </p:txBody>
      </p:sp>
      <p:sp>
        <p:nvSpPr>
          <p:cNvPr id="8" name="Takeaway bar"/>
          <p:cNvSpPr>
            <a:spLocks noGrp="1"/>
          </p:cNvSpPr>
          <p:nvPr>
            <p:ph type="body" sz="quarter" idx="15" hasCustomPrompt="1"/>
          </p:nvPr>
        </p:nvSpPr>
        <p:spPr>
          <a:xfrm>
            <a:off x="694944" y="5917569"/>
            <a:ext cx="10820399" cy="268279"/>
          </a:xfrm>
          <a:solidFill>
            <a:schemeClr val="accent1"/>
          </a:solidFill>
        </p:spPr>
        <p:txBody>
          <a:bodyPr vert="horz" wrap="square" lIns="621792" tIns="64008" rIns="621792" bIns="36576" rtlCol="0" anchor="b" anchorCtr="0">
            <a:spAutoFit/>
          </a:bodyPr>
          <a:lstStyle>
            <a:lvl1pPr marL="0" indent="0" algn="ctr" defTabSz="0">
              <a:lnSpc>
                <a:spcPts val="1300"/>
              </a:lnSpc>
              <a:spcBef>
                <a:spcPts val="0"/>
              </a:spcBef>
              <a:buFontTx/>
              <a:buNone/>
              <a:defRPr lang="en-US" sz="1600" b="1" dirty="0">
                <a:solidFill>
                  <a:schemeClr val="bg1"/>
                </a:solidFill>
                <a:latin typeface="Arial" panose="020B0604020202020204" pitchFamily="34" charset="0"/>
                <a:ea typeface="+mj-ea"/>
                <a:cs typeface="Arial" panose="020B0604020202020204" pitchFamily="34" charset="0"/>
              </a:defRPr>
            </a:lvl1pPr>
          </a:lstStyle>
          <a:p>
            <a:pPr marL="0" lvl="0" indent="0" algn="ctr">
              <a:buNone/>
            </a:pPr>
            <a:r>
              <a:rPr lang="en-US" dirty="0"/>
              <a:t>Optional takeaway bar. White. Bold. 16 pt. Centered. Sentence case.</a:t>
            </a:r>
          </a:p>
        </p:txBody>
      </p:sp>
      <p:sp>
        <p:nvSpPr>
          <p:cNvPr id="3" name="Subhead1"/>
          <p:cNvSpPr>
            <a:spLocks noGrp="1"/>
          </p:cNvSpPr>
          <p:nvPr>
            <p:ph type="body" sz="quarter" idx="17" hasCustomPrompt="1"/>
          </p:nvPr>
        </p:nvSpPr>
        <p:spPr>
          <a:xfrm>
            <a:off x="685800" y="1572733"/>
            <a:ext cx="10820400" cy="341632"/>
          </a:xfrm>
          <a:noFill/>
        </p:spPr>
        <p:txBody>
          <a:bodyPr wrap="square" bIns="9144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baseline="0">
                <a:solidFill>
                  <a:srgbClr val="CE1126"/>
                </a:solidFill>
              </a:defRPr>
            </a:lvl1pPr>
          </a:lstStyle>
          <a:p>
            <a:pPr marL="0" marR="0" lvl="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a:pPr>
            <a:r>
              <a:rPr lang="en-US" dirty="0"/>
              <a:t>Subhead 18 pt. RTX red. Bold. Sentence case.</a:t>
            </a:r>
          </a:p>
        </p:txBody>
      </p:sp>
      <p:sp>
        <p:nvSpPr>
          <p:cNvPr id="5" name="Body">
            <a:extLst>
              <a:ext uri="{FF2B5EF4-FFF2-40B4-BE49-F238E27FC236}">
                <a16:creationId xmlns:a16="http://schemas.microsoft.com/office/drawing/2014/main" id="{0DE266AD-78E5-4D5A-B25C-844958695D79}"/>
              </a:ext>
            </a:extLst>
          </p:cNvPr>
          <p:cNvSpPr>
            <a:spLocks noGrp="1"/>
          </p:cNvSpPr>
          <p:nvPr>
            <p:ph sz="quarter" idx="19" hasCustomPrompt="1"/>
          </p:nvPr>
        </p:nvSpPr>
        <p:spPr>
          <a:xfrm>
            <a:off x="685800" y="2008188"/>
            <a:ext cx="10829925" cy="3783012"/>
          </a:xfrm>
        </p:spPr>
        <p:txBody>
          <a:bodyPr/>
          <a:lstStyle>
            <a:lvl1pPr>
              <a:defRPr sz="2200"/>
            </a:lvl1pPr>
          </a:lstStyle>
          <a:p>
            <a:pPr lvl="0"/>
            <a:r>
              <a:rPr lang="en-US" dirty="0"/>
              <a:t>Main bullet. 22 pt. black. Regular. Sentence cas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hasCustomPrompt="1"/>
          </p:nvPr>
        </p:nvSpPr>
        <p:spPr>
          <a:xfrm>
            <a:off x="694944" y="514473"/>
            <a:ext cx="10811256" cy="676653"/>
          </a:xfrm>
          <a:prstGeom prst="rect">
            <a:avLst/>
          </a:prstGeom>
        </p:spPr>
        <p:txBody>
          <a:bodyPr anchor="t" anchorCtr="0"/>
          <a:lstStyle>
            <a:lvl1pPr>
              <a:lnSpc>
                <a:spcPct val="80000"/>
              </a:lnSpc>
              <a:defRPr/>
            </a:lvl1pPr>
          </a:lstStyle>
          <a:p>
            <a:r>
              <a:rPr lang="en-US" dirty="0"/>
              <a:t>TITLE. 32 PT. BLACK. REGULAR. UPPERCASE. TWO LINES MAX.</a:t>
            </a:r>
          </a:p>
        </p:txBody>
      </p:sp>
    </p:spTree>
    <p:extLst>
      <p:ext uri="{BB962C8B-B14F-4D97-AF65-F5344CB8AC3E}">
        <p14:creationId xmlns:p14="http://schemas.microsoft.com/office/powerpoint/2010/main" val="237440139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image" Target="../media/image13.svg"/><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image" Target="../media/image12.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10" Type="http://schemas.openxmlformats.org/officeDocument/2006/relationships/slideLayout" Target="../slideLayouts/slideLayout29.xml"/><Relationship Id="rId19" Type="http://schemas.openxmlformats.org/officeDocument/2006/relationships/theme" Target="../theme/theme2.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image" Target="../media/image13.sv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2.png"/><Relationship Id="rId2" Type="http://schemas.openxmlformats.org/officeDocument/2006/relationships/slideLayout" Target="../slideLayouts/slideLayout39.xml"/><Relationship Id="rId16" Type="http://schemas.openxmlformats.org/officeDocument/2006/relationships/theme" Target="../theme/theme3.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3" Type="http://schemas.openxmlformats.org/officeDocument/2006/relationships/slideLayout" Target="../slideLayouts/slideLayout55.xml"/><Relationship Id="rId21" Type="http://schemas.openxmlformats.org/officeDocument/2006/relationships/image" Target="../media/image12.png"/><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heme" Target="../theme/theme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image" Target="../media/image13.sv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image" Target="../media/image13.svg"/><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image" Target="../media/image12.png"/><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19" Type="http://schemas.openxmlformats.org/officeDocument/2006/relationships/theme" Target="../theme/theme5.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26" Type="http://schemas.openxmlformats.org/officeDocument/2006/relationships/slideLayout" Target="../slideLayouts/slideLayout115.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slideLayout" Target="../slideLayouts/slideLayout114.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29" Type="http://schemas.openxmlformats.org/officeDocument/2006/relationships/image" Target="../media/image13.svg"/><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slideLayout" Target="../slideLayouts/slideLayout113.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28" Type="http://schemas.openxmlformats.org/officeDocument/2006/relationships/image" Target="../media/image12.png"/><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 Id="rId27"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50" Type="http://schemas.openxmlformats.org/officeDocument/2006/relationships/theme" Target="../theme/theme7.xml"/><Relationship Id="rId55" Type="http://schemas.openxmlformats.org/officeDocument/2006/relationships/image" Target="../media/image16.svg"/><Relationship Id="rId7" Type="http://schemas.openxmlformats.org/officeDocument/2006/relationships/slideLayout" Target="../slideLayouts/slideLayout122.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54" Type="http://schemas.openxmlformats.org/officeDocument/2006/relationships/image" Target="../media/image12.png"/><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53" Type="http://schemas.openxmlformats.org/officeDocument/2006/relationships/image" Target="../media/image15.emf"/><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oleObject" Target="../embeddings/oleObject1.bin"/><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8" Type="http://schemas.openxmlformats.org/officeDocument/2006/relationships/slideLayout" Target="../slideLayouts/slideLayout123.xml"/><Relationship Id="rId51" Type="http://schemas.openxmlformats.org/officeDocument/2006/relationships/tags" Target="../tags/tag1.xml"/><Relationship Id="rId3"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CED78ED9-C903-F04F-AC60-C1FB157222EC}"/>
              </a:ext>
            </a:extLst>
          </p:cNvPr>
          <p:cNvSpPr>
            <a:spLocks noGrp="1"/>
          </p:cNvSpPr>
          <p:nvPr>
            <p:ph type="ftr" sz="quarter" idx="3"/>
          </p:nvPr>
        </p:nvSpPr>
        <p:spPr>
          <a:xfrm>
            <a:off x="85293" y="6583702"/>
            <a:ext cx="10072498" cy="274298"/>
          </a:xfrm>
          <a:prstGeom prst="rect">
            <a:avLst/>
          </a:prstGeom>
        </p:spPr>
        <p:txBody>
          <a:bodyPr vert="horz" lIns="91440" tIns="45720" rIns="91440" bIns="45720" rtlCol="0" anchor="t" anchorCtr="0"/>
          <a:lstStyle>
            <a:lvl1pPr algn="l">
              <a:defRPr sz="600">
                <a:solidFill>
                  <a:schemeClr val="tx1"/>
                </a:solidFill>
              </a:defRPr>
            </a:lvl1pPr>
          </a:lstStyle>
          <a:p>
            <a:r>
              <a:rPr lang="en-US">
                <a:cs typeface="DIN-Light"/>
              </a:rPr>
              <a:t>© 2022 Collins Aerospace.  | Collins Aerospace Proprietary.  |  This document does not include any export controlled technical data.</a:t>
            </a:r>
            <a:endParaRPr lang="en-US" dirty="0"/>
          </a:p>
        </p:txBody>
      </p:sp>
      <p:sp>
        <p:nvSpPr>
          <p:cNvPr id="3" name="Presenters"/>
          <p:cNvSpPr>
            <a:spLocks noGrp="1"/>
          </p:cNvSpPr>
          <p:nvPr>
            <p:ph type="body" idx="1"/>
          </p:nvPr>
        </p:nvSpPr>
        <p:spPr>
          <a:xfrm>
            <a:off x="647700" y="3811347"/>
            <a:ext cx="3581400" cy="333933"/>
          </a:xfrm>
          <a:prstGeom prst="rect">
            <a:avLst/>
          </a:prstGeom>
        </p:spPr>
        <p:txBody>
          <a:bodyPr vert="horz" lIns="0" tIns="0" rIns="0" bIns="0" rtlCol="0">
            <a:noAutofit/>
          </a:bodyPr>
          <a:lstStyle/>
          <a:p>
            <a:pPr lvl="0"/>
            <a:r>
              <a:rPr lang="en-US" dirty="0"/>
              <a:t>Edit Master text styles</a:t>
            </a:r>
          </a:p>
        </p:txBody>
      </p:sp>
      <p:sp>
        <p:nvSpPr>
          <p:cNvPr id="2" name="Title"/>
          <p:cNvSpPr>
            <a:spLocks noGrp="1"/>
          </p:cNvSpPr>
          <p:nvPr>
            <p:ph type="title"/>
          </p:nvPr>
        </p:nvSpPr>
        <p:spPr>
          <a:xfrm>
            <a:off x="647700" y="2743200"/>
            <a:ext cx="10896600" cy="701842"/>
          </a:xfrm>
          <a:prstGeom prst="rect">
            <a:avLst/>
          </a:prstGeom>
        </p:spPr>
        <p:txBody>
          <a:bodyPr vert="horz" lIns="0" tIns="0" rIns="0" bIns="0" rtlCol="0" anchor="b" anchorCtr="0">
            <a:noAutofit/>
          </a:bodyPr>
          <a:lstStyle/>
          <a:p>
            <a:r>
              <a:rPr lang="en-US"/>
              <a:t>Click to edit Master title style</a:t>
            </a:r>
            <a:endParaRPr lang="en-US" dirty="0"/>
          </a:p>
        </p:txBody>
      </p:sp>
      <p:sp>
        <p:nvSpPr>
          <p:cNvPr id="9" name="Copyright"/>
          <p:cNvSpPr txBox="1">
            <a:spLocks noChangeArrowheads="1"/>
          </p:cNvSpPr>
          <p:nvPr userDrawn="1"/>
        </p:nvSpPr>
        <p:spPr bwMode="auto">
          <a:xfrm>
            <a:off x="4963949" y="6956980"/>
            <a:ext cx="2264102" cy="92333"/>
          </a:xfrm>
          <a:prstGeom prst="rect">
            <a:avLst/>
          </a:prstGeom>
          <a:solidFill>
            <a:srgbClr val="E6E6E6"/>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230188" indent="-230188">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6pPr>
            <a:lvl7pPr marL="29718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7pPr>
            <a:lvl8pPr marL="34290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8pPr>
            <a:lvl9pPr marL="38862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9pPr>
          </a:lstStyle>
          <a:p>
            <a:pPr marL="0" indent="0" algn="ctr"/>
            <a:endParaRPr lang="en-US" sz="600" dirty="0">
              <a:solidFill>
                <a:schemeClr val="bg1"/>
              </a:solidFill>
            </a:endParaRPr>
          </a:p>
        </p:txBody>
      </p:sp>
    </p:spTree>
    <p:extLst>
      <p:ext uri="{BB962C8B-B14F-4D97-AF65-F5344CB8AC3E}">
        <p14:creationId xmlns:p14="http://schemas.microsoft.com/office/powerpoint/2010/main" val="1815982091"/>
      </p:ext>
    </p:extLst>
  </p:cSld>
  <p:clrMap bg1="lt1" tx1="dk1" bg2="lt2" tx2="dk2" accent1="accent1" accent2="accent2" accent3="accent3" accent4="accent4" accent5="accent5" accent6="accent6" hlink="hlink" folHlink="folHlink"/>
  <p:sldLayoutIdLst>
    <p:sldLayoutId id="2147483683" r:id="rId1"/>
    <p:sldLayoutId id="2147483682" r:id="rId2"/>
    <p:sldLayoutId id="2147483675" r:id="rId3"/>
    <p:sldLayoutId id="2147483684" r:id="rId4"/>
    <p:sldLayoutId id="2147483693" r:id="rId5"/>
    <p:sldLayoutId id="2147483685" r:id="rId6"/>
    <p:sldLayoutId id="2147483694" r:id="rId7"/>
    <p:sldLayoutId id="2147483781" r:id="rId8"/>
    <p:sldLayoutId id="2147483782" r:id="rId9"/>
    <p:sldLayoutId id="2147483783" r:id="rId10"/>
    <p:sldLayoutId id="2147483785" r:id="rId11"/>
    <p:sldLayoutId id="2147483791" r:id="rId12"/>
    <p:sldLayoutId id="2147484109" r:id="rId13"/>
    <p:sldLayoutId id="2147484374" r:id="rId14"/>
    <p:sldLayoutId id="2147484375" r:id="rId15"/>
    <p:sldLayoutId id="2147484376" r:id="rId16"/>
    <p:sldLayoutId id="2147484377" r:id="rId17"/>
    <p:sldLayoutId id="2147484378" r:id="rId18"/>
    <p:sldLayoutId id="2147484379" r:id="rId19"/>
  </p:sldLayoutIdLst>
  <p:hf sldNum="0" hdr="0" dt="0"/>
  <p:txStyles>
    <p:titleStyle>
      <a:lvl1pPr algn="l" defTabSz="914400" rtl="0" eaLnBrk="1" latinLnBrk="0" hangingPunct="1">
        <a:lnSpc>
          <a:spcPct val="90000"/>
        </a:lnSpc>
        <a:spcBef>
          <a:spcPct val="0"/>
        </a:spcBef>
        <a:buNone/>
        <a:defRPr sz="4000" b="0" kern="1200" cap="all" spc="300" baseline="0">
          <a:solidFill>
            <a:schemeClr val="tx1"/>
          </a:solidFill>
          <a:latin typeface="+mj-lt"/>
          <a:ea typeface="+mj-ea"/>
          <a:cs typeface="+mj-cs"/>
        </a:defRPr>
      </a:lvl1pPr>
    </p:titleStyle>
    <p:bodyStyle>
      <a:lvl1pPr marL="0" indent="0" algn="l" defTabSz="0" rtl="0" eaLnBrk="1" latinLnBrk="0" hangingPunct="1">
        <a:lnSpc>
          <a:spcPct val="90000"/>
        </a:lnSpc>
        <a:spcBef>
          <a:spcPts val="0"/>
        </a:spcBef>
        <a:buSzPct val="115000"/>
        <a:buFont typeface="Arial" panose="020B0604020202020204" pitchFamily="34" charset="0"/>
        <a:buNone/>
        <a:defRPr sz="2000" b="1" kern="1200">
          <a:solidFill>
            <a:schemeClr val="tx1"/>
          </a:solidFill>
          <a:latin typeface="+mn-lt"/>
          <a:ea typeface="+mn-ea"/>
          <a:cs typeface="+mn-cs"/>
        </a:defRPr>
      </a:lvl1pPr>
      <a:lvl2pPr marL="36576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2pPr>
      <a:lvl3pPr marL="54864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3pPr>
      <a:lvl4pPr marL="73152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4pPr>
      <a:lvl5pPr marL="91440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userDrawn="1">
          <p15:clr>
            <a:srgbClr val="A4A3A4"/>
          </p15:clr>
        </p15:guide>
        <p15:guide id="3" pos="7248" userDrawn="1">
          <p15:clr>
            <a:srgbClr val="A4A3A4"/>
          </p15:clr>
        </p15:guide>
        <p15:guide id="5" pos="1416" userDrawn="1">
          <p15:clr>
            <a:srgbClr val="A4A3A4"/>
          </p15:clr>
        </p15:guide>
        <p15:guide id="6" pos="1608" userDrawn="1">
          <p15:clr>
            <a:srgbClr val="A4A3A4"/>
          </p15:clr>
        </p15:guide>
        <p15:guide id="7" pos="2592" userDrawn="1">
          <p15:clr>
            <a:srgbClr val="A4A3A4"/>
          </p15:clr>
        </p15:guide>
        <p15:guide id="8" pos="2760" userDrawn="1">
          <p15:clr>
            <a:srgbClr val="A4A3A4"/>
          </p15:clr>
        </p15:guide>
        <p15:guide id="9" pos="3744" userDrawn="1">
          <p15:clr>
            <a:srgbClr val="A4A3A4"/>
          </p15:clr>
        </p15:guide>
        <p15:guide id="10" pos="3936" userDrawn="1">
          <p15:clr>
            <a:srgbClr val="A4A3A4"/>
          </p15:clr>
        </p15:guide>
        <p15:guide id="11" pos="4920" userDrawn="1">
          <p15:clr>
            <a:srgbClr val="A4A3A4"/>
          </p15:clr>
        </p15:guide>
        <p15:guide id="12" pos="5088" userDrawn="1">
          <p15:clr>
            <a:srgbClr val="A4A3A4"/>
          </p15:clr>
        </p15:guide>
        <p15:guide id="13" pos="6072" userDrawn="1">
          <p15:clr>
            <a:srgbClr val="A4A3A4"/>
          </p15:clr>
        </p15:guide>
        <p15:guide id="14" pos="6264" userDrawn="1">
          <p15:clr>
            <a:srgbClr val="A4A3A4"/>
          </p15:clr>
        </p15:guide>
        <p15:guide id="15" orient="horz" pos="3888" userDrawn="1">
          <p15:clr>
            <a:srgbClr val="547EBF"/>
          </p15:clr>
        </p15:guide>
        <p15:guide id="16" orient="horz" pos="1296" userDrawn="1">
          <p15:clr>
            <a:srgbClr val="547EBF"/>
          </p15:clr>
        </p15:guide>
        <p15:guide id="17" orient="horz" pos="2592" userDrawn="1">
          <p15:clr>
            <a:srgbClr val="547EBF"/>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B6C8E1-5162-A049-A9C3-1F56E4D8CBFF}"/>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439469" y="6282751"/>
            <a:ext cx="1307035" cy="216396"/>
          </a:xfrm>
          <a:prstGeom prst="rect">
            <a:avLst/>
          </a:prstGeom>
        </p:spPr>
      </p:pic>
      <p:sp>
        <p:nvSpPr>
          <p:cNvPr id="6"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 name="Body"/>
          <p:cNvSpPr>
            <a:spLocks noGrp="1"/>
          </p:cNvSpPr>
          <p:nvPr>
            <p:ph type="body" idx="1"/>
          </p:nvPr>
        </p:nvSpPr>
        <p:spPr>
          <a:xfrm>
            <a:off x="685800" y="1465711"/>
            <a:ext cx="10821419" cy="42291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4"/>
          <p:cNvSpPr>
            <a:spLocks noGrp="1"/>
          </p:cNvSpPr>
          <p:nvPr>
            <p:ph type="title"/>
          </p:nvPr>
        </p:nvSpPr>
        <p:spPr>
          <a:xfrm>
            <a:off x="694944" y="492841"/>
            <a:ext cx="10811256" cy="679745"/>
          </a:xfrm>
          <a:prstGeom prst="rect">
            <a:avLst/>
          </a:prstGeom>
        </p:spPr>
        <p:txBody>
          <a:bodyPr vert="horz" lIns="0" tIns="0" rIns="0" bIns="0" rtlCol="0" anchor="t" anchorCtr="0">
            <a:noAutofit/>
          </a:bodyPr>
          <a:lstStyle/>
          <a:p>
            <a:r>
              <a:rPr lang="en-US" dirty="0"/>
              <a:t>CLICK TO EDIT MASTER TITLE STYLE</a:t>
            </a:r>
          </a:p>
        </p:txBody>
      </p:sp>
      <p:cxnSp>
        <p:nvCxnSpPr>
          <p:cNvPr id="8" name="Straight Connector 7">
            <a:extLst>
              <a:ext uri="{FF2B5EF4-FFF2-40B4-BE49-F238E27FC236}">
                <a16:creationId xmlns:a16="http://schemas.microsoft.com/office/drawing/2014/main" id="{B76676FC-D680-2646-8177-363F9684694B}"/>
              </a:ext>
            </a:extLst>
          </p:cNvPr>
          <p:cNvCxnSpPr>
            <a:cxnSpLocks/>
          </p:cNvCxnSpPr>
          <p:nvPr userDrawn="1"/>
        </p:nvCxnSpPr>
        <p:spPr>
          <a:xfrm>
            <a:off x="752528" y="27537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1" name="Footer Placeholder 3">
            <a:extLst>
              <a:ext uri="{FF2B5EF4-FFF2-40B4-BE49-F238E27FC236}">
                <a16:creationId xmlns:a16="http://schemas.microsoft.com/office/drawing/2014/main" id="{3BE96872-F016-3945-917E-2289792C5C73}"/>
              </a:ext>
            </a:extLst>
          </p:cNvPr>
          <p:cNvSpPr>
            <a:spLocks noGrp="1"/>
          </p:cNvSpPr>
          <p:nvPr>
            <p:ph type="ftr" sz="quarter" idx="3"/>
          </p:nvPr>
        </p:nvSpPr>
        <p:spPr>
          <a:xfrm>
            <a:off x="85293" y="6583702"/>
            <a:ext cx="10072498" cy="274298"/>
          </a:xfrm>
          <a:prstGeom prst="rect">
            <a:avLst/>
          </a:prstGeom>
        </p:spPr>
        <p:txBody>
          <a:bodyPr vert="horz" lIns="91440" tIns="45720" rIns="91440" bIns="45720" rtlCol="0" anchor="t" anchorCtr="0"/>
          <a:lstStyle>
            <a:lvl1pPr algn="l">
              <a:defRPr sz="600">
                <a:solidFill>
                  <a:schemeClr val="tx1"/>
                </a:solidFill>
              </a:defRPr>
            </a:lvl1p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4080327739"/>
      </p:ext>
    </p:extLst>
  </p:cSld>
  <p:clrMap bg1="lt1" tx1="dk1" bg2="lt2" tx2="dk2" accent1="accent1" accent2="accent2" accent3="accent3" accent4="accent4" accent5="accent5" accent6="accent6" hlink="hlink" folHlink="folHlink"/>
  <p:sldLayoutIdLst>
    <p:sldLayoutId id="2147483691" r:id="rId1"/>
    <p:sldLayoutId id="2147483669" r:id="rId2"/>
    <p:sldLayoutId id="2147483650" r:id="rId3"/>
    <p:sldLayoutId id="2147483664" r:id="rId4"/>
    <p:sldLayoutId id="2147483665" r:id="rId5"/>
    <p:sldLayoutId id="2147483678" r:id="rId6"/>
    <p:sldLayoutId id="2147483666" r:id="rId7"/>
    <p:sldLayoutId id="2147483786" r:id="rId8"/>
    <p:sldLayoutId id="2147483787" r:id="rId9"/>
    <p:sldLayoutId id="2147483788" r:id="rId10"/>
    <p:sldLayoutId id="2147483789" r:id="rId11"/>
    <p:sldLayoutId id="2147483790" r:id="rId12"/>
    <p:sldLayoutId id="2147484368" r:id="rId13"/>
    <p:sldLayoutId id="2147484369" r:id="rId14"/>
    <p:sldLayoutId id="2147484370" r:id="rId15"/>
    <p:sldLayoutId id="2147484371" r:id="rId16"/>
    <p:sldLayoutId id="2147484372" r:id="rId17"/>
    <p:sldLayoutId id="2147484373" r:id="rId18"/>
  </p:sldLayoutIdLst>
  <p:hf sldNum="0" hdr="0" dt="0"/>
  <p:txStyles>
    <p:titleStyle>
      <a:lvl1pPr marL="0" algn="l" defTabSz="914400" rtl="0" eaLnBrk="1" latinLnBrk="0" hangingPunct="1">
        <a:lnSpc>
          <a:spcPct val="80000"/>
        </a:lnSpc>
        <a:spcBef>
          <a:spcPct val="0"/>
        </a:spcBef>
        <a:buNone/>
        <a:defRPr lang="en-US" sz="3200" b="0" kern="1200" cap="all" spc="300" baseline="0" dirty="0">
          <a:solidFill>
            <a:schemeClr val="tx1"/>
          </a:solidFill>
          <a:latin typeface="Arial" panose="020B0604020202020204" pitchFamily="34" charset="0"/>
          <a:ea typeface="+mj-ea"/>
          <a:cs typeface="Arial" panose="020B0604020202020204" pitchFamily="34" charset="0"/>
        </a:defRPr>
      </a:lvl1pPr>
    </p:titleStyle>
    <p:bodyStyle>
      <a:lvl1pPr marL="219456"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2200" kern="1200" baseline="0">
          <a:solidFill>
            <a:schemeClr val="tx1"/>
          </a:solidFill>
          <a:latin typeface="Arial" panose="020B0604020202020204" pitchFamily="34" charset="0"/>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8" userDrawn="1">
          <p15:clr>
            <a:srgbClr val="547EBF"/>
          </p15:clr>
        </p15:guide>
        <p15:guide id="3" pos="432" userDrawn="1">
          <p15:clr>
            <a:srgbClr val="547EBF"/>
          </p15:clr>
        </p15:guide>
        <p15:guide id="4" orient="horz" pos="3888" userDrawn="1">
          <p15:clr>
            <a:srgbClr val="547EBF"/>
          </p15:clr>
        </p15:guide>
        <p15:guide id="5" orient="horz" pos="288" userDrawn="1">
          <p15:clr>
            <a:srgbClr val="547EBF"/>
          </p15:clr>
        </p15:guide>
        <p15:guide id="6" pos="1416" userDrawn="1">
          <p15:clr>
            <a:srgbClr val="A4A3A4"/>
          </p15:clr>
        </p15:guide>
        <p15:guide id="7" pos="1608" userDrawn="1">
          <p15:clr>
            <a:srgbClr val="A4A3A4"/>
          </p15:clr>
        </p15:guide>
        <p15:guide id="8" pos="3744" userDrawn="1">
          <p15:clr>
            <a:srgbClr val="A4A3A4"/>
          </p15:clr>
        </p15:guide>
        <p15:guide id="9" pos="3936" userDrawn="1">
          <p15:clr>
            <a:srgbClr val="A4A3A4"/>
          </p15:clr>
        </p15:guide>
        <p15:guide id="10" pos="4920" userDrawn="1">
          <p15:clr>
            <a:srgbClr val="A4A3A4"/>
          </p15:clr>
        </p15:guide>
        <p15:guide id="11" pos="5088" userDrawn="1">
          <p15:clr>
            <a:srgbClr val="A4A3A4"/>
          </p15:clr>
        </p15:guide>
        <p15:guide id="12" pos="6072" userDrawn="1">
          <p15:clr>
            <a:srgbClr val="A4A3A4"/>
          </p15:clr>
        </p15:guide>
        <p15:guide id="13" pos="6264" userDrawn="1">
          <p15:clr>
            <a:srgbClr val="A4A3A4"/>
          </p15:clr>
        </p15:guide>
        <p15:guide id="14" pos="2592" userDrawn="1">
          <p15:clr>
            <a:srgbClr val="A4A3A4"/>
          </p15:clr>
        </p15:guide>
        <p15:guide id="15" pos="2760" userDrawn="1">
          <p15:clr>
            <a:srgbClr val="A4A3A4"/>
          </p15:clr>
        </p15:guide>
        <p15:guide id="16" orient="horz" pos="720" userDrawn="1">
          <p15:clr>
            <a:srgbClr val="547EBF"/>
          </p15:clr>
        </p15:guide>
        <p15:guide id="17" orient="horz" pos="480" userDrawn="1">
          <p15:clr>
            <a:srgbClr val="547EBF"/>
          </p15:clr>
        </p15:guide>
        <p15:guide id="18" orient="horz" pos="984" userDrawn="1">
          <p15:clr>
            <a:srgbClr val="F26B43"/>
          </p15:clr>
        </p15:guide>
        <p15:guide id="19" orient="horz" pos="364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Presenters"/>
          <p:cNvSpPr>
            <a:spLocks noGrp="1"/>
          </p:cNvSpPr>
          <p:nvPr>
            <p:ph type="body" idx="1"/>
          </p:nvPr>
        </p:nvSpPr>
        <p:spPr>
          <a:xfrm>
            <a:off x="685800" y="3900728"/>
            <a:ext cx="3581400" cy="333933"/>
          </a:xfrm>
          <a:prstGeom prst="rect">
            <a:avLst/>
          </a:prstGeom>
        </p:spPr>
        <p:txBody>
          <a:bodyPr vert="horz" lIns="0" tIns="0" rIns="0" bIns="0" rtlCol="0">
            <a:noAutofit/>
          </a:bodyPr>
          <a:lstStyle/>
          <a:p>
            <a:pPr lvl="0"/>
            <a:r>
              <a:rPr lang="en-US" dirty="0"/>
              <a:t>Edit Master text styles</a:t>
            </a:r>
          </a:p>
        </p:txBody>
      </p:sp>
      <p:sp>
        <p:nvSpPr>
          <p:cNvPr id="2" name="Title"/>
          <p:cNvSpPr>
            <a:spLocks noGrp="1"/>
          </p:cNvSpPr>
          <p:nvPr>
            <p:ph type="title"/>
          </p:nvPr>
        </p:nvSpPr>
        <p:spPr>
          <a:xfrm>
            <a:off x="685800" y="1874225"/>
            <a:ext cx="10820400" cy="1661993"/>
          </a:xfrm>
          <a:prstGeom prst="rect">
            <a:avLst/>
          </a:prstGeom>
        </p:spPr>
        <p:txBody>
          <a:bodyPr vert="horz" lIns="0" tIns="0" rIns="0" bIns="0" rtlCol="0" anchor="b" anchorCtr="0">
            <a:noAutofit/>
          </a:bodyPr>
          <a:lstStyle/>
          <a:p>
            <a:r>
              <a:rPr lang="en-US" dirty="0"/>
              <a:t>CLICK TO EDIT MASTER TITLE STYLE</a:t>
            </a:r>
          </a:p>
        </p:txBody>
      </p:sp>
      <p:sp>
        <p:nvSpPr>
          <p:cNvPr id="7"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pic>
        <p:nvPicPr>
          <p:cNvPr id="9" name="Graphic 8">
            <a:extLst>
              <a:ext uri="{FF2B5EF4-FFF2-40B4-BE49-F238E27FC236}">
                <a16:creationId xmlns:a16="http://schemas.microsoft.com/office/drawing/2014/main" id="{DF79D0E3-2AE1-ED43-B502-F8E71D1DBB85}"/>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439469" y="6282751"/>
            <a:ext cx="1307035" cy="216396"/>
          </a:xfrm>
          <a:prstGeom prst="rect">
            <a:avLst/>
          </a:prstGeom>
        </p:spPr>
      </p:pic>
      <p:sp>
        <p:nvSpPr>
          <p:cNvPr id="10" name="Footer Placeholder 3">
            <a:extLst>
              <a:ext uri="{FF2B5EF4-FFF2-40B4-BE49-F238E27FC236}">
                <a16:creationId xmlns:a16="http://schemas.microsoft.com/office/drawing/2014/main" id="{0B060C4E-8FED-064C-9F17-A4627CEA40CC}"/>
              </a:ext>
            </a:extLst>
          </p:cNvPr>
          <p:cNvSpPr>
            <a:spLocks noGrp="1"/>
          </p:cNvSpPr>
          <p:nvPr>
            <p:ph type="ftr" sz="quarter" idx="3"/>
          </p:nvPr>
        </p:nvSpPr>
        <p:spPr>
          <a:xfrm>
            <a:off x="85293" y="6583702"/>
            <a:ext cx="10072498" cy="274298"/>
          </a:xfrm>
          <a:prstGeom prst="rect">
            <a:avLst/>
          </a:prstGeom>
        </p:spPr>
        <p:txBody>
          <a:bodyPr vert="horz" lIns="91440" tIns="45720" rIns="91440" bIns="45720" rtlCol="0" anchor="t" anchorCtr="0"/>
          <a:lstStyle>
            <a:lvl1pPr algn="l">
              <a:defRPr sz="600">
                <a:solidFill>
                  <a:schemeClr val="tx1"/>
                </a:solidFill>
              </a:defRPr>
            </a:lvl1p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1495502049"/>
      </p:ext>
    </p:extLst>
  </p:cSld>
  <p:clrMap bg1="lt1" tx1="dk1" bg2="lt2" tx2="dk2" accent1="accent1" accent2="accent2" accent3="accent3" accent4="accent4" accent5="accent5" accent6="accent6" hlink="hlink" folHlink="folHlink"/>
  <p:sldLayoutIdLst>
    <p:sldLayoutId id="2147483686" r:id="rId1"/>
    <p:sldLayoutId id="2147483792" r:id="rId2"/>
    <p:sldLayoutId id="2147483793" r:id="rId3"/>
    <p:sldLayoutId id="2147483794" r:id="rId4"/>
    <p:sldLayoutId id="2147483795" r:id="rId5"/>
    <p:sldLayoutId id="2147483796" r:id="rId6"/>
    <p:sldLayoutId id="2147483797" r:id="rId7"/>
    <p:sldLayoutId id="2147483798" r:id="rId8"/>
    <p:sldLayoutId id="2147484108" r:id="rId9"/>
    <p:sldLayoutId id="2147484362" r:id="rId10"/>
    <p:sldLayoutId id="2147484363" r:id="rId11"/>
    <p:sldLayoutId id="2147484364" r:id="rId12"/>
    <p:sldLayoutId id="2147484365" r:id="rId13"/>
    <p:sldLayoutId id="2147484366" r:id="rId14"/>
    <p:sldLayoutId id="2147484367" r:id="rId15"/>
  </p:sldLayoutIdLst>
  <p:hf sldNum="0" hdr="0" dt="0"/>
  <p:txStyles>
    <p:titleStyle>
      <a:lvl1pPr algn="l" defTabSz="914400" rtl="0" eaLnBrk="1" latinLnBrk="0" hangingPunct="1">
        <a:lnSpc>
          <a:spcPct val="90000"/>
        </a:lnSpc>
        <a:spcBef>
          <a:spcPct val="0"/>
        </a:spcBef>
        <a:buNone/>
        <a:defRPr sz="4000" b="0" kern="1200">
          <a:solidFill>
            <a:schemeClr val="tx1"/>
          </a:solidFill>
          <a:latin typeface="+mj-lt"/>
          <a:ea typeface="+mj-ea"/>
          <a:cs typeface="+mj-cs"/>
        </a:defRPr>
      </a:lvl1pPr>
    </p:titleStyle>
    <p:bodyStyle>
      <a:lvl1pPr marL="0" indent="0" algn="l" defTabSz="0" rtl="0" eaLnBrk="1" latinLnBrk="0" hangingPunct="1">
        <a:lnSpc>
          <a:spcPct val="90000"/>
        </a:lnSpc>
        <a:spcBef>
          <a:spcPts val="0"/>
        </a:spcBef>
        <a:buSzPct val="115000"/>
        <a:buFont typeface="Arial" panose="020B0604020202020204" pitchFamily="34" charset="0"/>
        <a:buNone/>
        <a:defRPr sz="2000" b="1" kern="1200">
          <a:solidFill>
            <a:schemeClr val="tx1"/>
          </a:solidFill>
          <a:latin typeface="+mn-lt"/>
          <a:ea typeface="+mn-ea"/>
          <a:cs typeface="+mn-cs"/>
        </a:defRPr>
      </a:lvl1pPr>
      <a:lvl2pPr marL="36576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2pPr>
      <a:lvl3pPr marL="54864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3pPr>
      <a:lvl4pPr marL="731520" indent="-182880" algn="l" defTabSz="914400" rtl="0" eaLnBrk="1" latinLnBrk="0" hangingPunct="1">
        <a:lnSpc>
          <a:spcPct val="90000"/>
        </a:lnSpc>
        <a:spcBef>
          <a:spcPts val="500"/>
        </a:spcBef>
        <a:buSzPct val="100000"/>
        <a:buFont typeface="Arial" panose="020B0604020202020204" pitchFamily="34" charset="0"/>
        <a:buChar char="–"/>
        <a:defRPr sz="2000" b="1" kern="1200">
          <a:solidFill>
            <a:schemeClr val="tx1"/>
          </a:solidFill>
          <a:latin typeface="+mn-lt"/>
          <a:ea typeface="+mn-ea"/>
          <a:cs typeface="+mn-cs"/>
        </a:defRPr>
      </a:lvl4pPr>
      <a:lvl5pPr marL="914400" indent="-182880" algn="l" defTabSz="914400" rtl="0" eaLnBrk="1" latinLnBrk="0" hangingPunct="1">
        <a:lnSpc>
          <a:spcPct val="90000"/>
        </a:lnSpc>
        <a:spcBef>
          <a:spcPts val="500"/>
        </a:spcBef>
        <a:buSzPct val="115000"/>
        <a:buFont typeface="Arial" panose="020B0604020202020204" pitchFamily="34" charset="0"/>
        <a:buChar char="•"/>
        <a:defRPr sz="2000" b="1"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32">
          <p15:clr>
            <a:srgbClr val="A4A3A4"/>
          </p15:clr>
        </p15:guide>
        <p15:guide id="3" pos="7248">
          <p15:clr>
            <a:srgbClr val="A4A3A4"/>
          </p15:clr>
        </p15:guide>
        <p15:guide id="5" pos="1416">
          <p15:clr>
            <a:srgbClr val="A4A3A4"/>
          </p15:clr>
        </p15:guide>
        <p15:guide id="6" pos="1608">
          <p15:clr>
            <a:srgbClr val="A4A3A4"/>
          </p15:clr>
        </p15:guide>
        <p15:guide id="7" pos="2592">
          <p15:clr>
            <a:srgbClr val="A4A3A4"/>
          </p15:clr>
        </p15:guide>
        <p15:guide id="8" pos="2760">
          <p15:clr>
            <a:srgbClr val="A4A3A4"/>
          </p15:clr>
        </p15:guide>
        <p15:guide id="9" pos="3744">
          <p15:clr>
            <a:srgbClr val="A4A3A4"/>
          </p15:clr>
        </p15:guide>
        <p15:guide id="10" pos="3936">
          <p15:clr>
            <a:srgbClr val="A4A3A4"/>
          </p15:clr>
        </p15:guide>
        <p15:guide id="11" pos="4920">
          <p15:clr>
            <a:srgbClr val="A4A3A4"/>
          </p15:clr>
        </p15:guide>
        <p15:guide id="12" pos="5088">
          <p15:clr>
            <a:srgbClr val="A4A3A4"/>
          </p15:clr>
        </p15:guide>
        <p15:guide id="13" pos="6072">
          <p15:clr>
            <a:srgbClr val="A4A3A4"/>
          </p15:clr>
        </p15:guide>
        <p15:guide id="14" pos="6264">
          <p15:clr>
            <a:srgbClr val="A4A3A4"/>
          </p15:clr>
        </p15:guide>
        <p15:guide id="15" orient="horz" pos="3888">
          <p15:clr>
            <a:srgbClr val="547EBF"/>
          </p15:clr>
        </p15:guide>
        <p15:guide id="16" orient="horz" pos="1296">
          <p15:clr>
            <a:srgbClr val="547EBF"/>
          </p15:clr>
        </p15:guide>
        <p15:guide id="17" orient="horz" pos="2592">
          <p15:clr>
            <a:srgbClr val="547EBF"/>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B6C8E1-5162-A049-A9C3-1F56E4D8CBFF}"/>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439469" y="6282751"/>
            <a:ext cx="1307035" cy="216396"/>
          </a:xfrm>
          <a:prstGeom prst="rect">
            <a:avLst/>
          </a:prstGeom>
        </p:spPr>
      </p:pic>
      <p:sp>
        <p:nvSpPr>
          <p:cNvPr id="6"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 name="Body"/>
          <p:cNvSpPr>
            <a:spLocks noGrp="1"/>
          </p:cNvSpPr>
          <p:nvPr>
            <p:ph type="body" idx="1"/>
          </p:nvPr>
        </p:nvSpPr>
        <p:spPr>
          <a:xfrm>
            <a:off x="685800" y="1465711"/>
            <a:ext cx="10821419" cy="42291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4"/>
          <p:cNvSpPr>
            <a:spLocks noGrp="1"/>
          </p:cNvSpPr>
          <p:nvPr>
            <p:ph type="title"/>
          </p:nvPr>
        </p:nvSpPr>
        <p:spPr>
          <a:xfrm>
            <a:off x="694944" y="492841"/>
            <a:ext cx="10811256" cy="679745"/>
          </a:xfrm>
          <a:prstGeom prst="rect">
            <a:avLst/>
          </a:prstGeom>
        </p:spPr>
        <p:txBody>
          <a:bodyPr vert="horz" lIns="0" tIns="0" rIns="0" bIns="0" rtlCol="0" anchor="t" anchorCtr="0">
            <a:noAutofit/>
          </a:bodyPr>
          <a:lstStyle/>
          <a:p>
            <a:r>
              <a:rPr lang="en-US" dirty="0"/>
              <a:t>CLICK TO EDIT MASTER TITLE STYLE</a:t>
            </a:r>
          </a:p>
        </p:txBody>
      </p:sp>
      <p:cxnSp>
        <p:nvCxnSpPr>
          <p:cNvPr id="8" name="Straight Connector 7">
            <a:extLst>
              <a:ext uri="{FF2B5EF4-FFF2-40B4-BE49-F238E27FC236}">
                <a16:creationId xmlns:a16="http://schemas.microsoft.com/office/drawing/2014/main" id="{B76676FC-D680-2646-8177-363F9684694B}"/>
              </a:ext>
            </a:extLst>
          </p:cNvPr>
          <p:cNvCxnSpPr>
            <a:cxnSpLocks/>
          </p:cNvCxnSpPr>
          <p:nvPr userDrawn="1"/>
        </p:nvCxnSpPr>
        <p:spPr>
          <a:xfrm>
            <a:off x="752528" y="27537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1" name="Footer Placeholder 3">
            <a:extLst>
              <a:ext uri="{FF2B5EF4-FFF2-40B4-BE49-F238E27FC236}">
                <a16:creationId xmlns:a16="http://schemas.microsoft.com/office/drawing/2014/main" id="{3BE96872-F016-3945-917E-2289792C5C73}"/>
              </a:ext>
            </a:extLst>
          </p:cNvPr>
          <p:cNvSpPr>
            <a:spLocks noGrp="1"/>
          </p:cNvSpPr>
          <p:nvPr>
            <p:ph type="ftr" sz="quarter" idx="3"/>
          </p:nvPr>
        </p:nvSpPr>
        <p:spPr>
          <a:xfrm>
            <a:off x="85293" y="6583702"/>
            <a:ext cx="10072498" cy="274298"/>
          </a:xfrm>
          <a:prstGeom prst="rect">
            <a:avLst/>
          </a:prstGeom>
        </p:spPr>
        <p:txBody>
          <a:bodyPr vert="horz" lIns="91440" tIns="45720" rIns="91440" bIns="45720" rtlCol="0" anchor="t" anchorCtr="0"/>
          <a:lstStyle>
            <a:lvl1pPr algn="l">
              <a:defRPr sz="600">
                <a:solidFill>
                  <a:schemeClr val="tx1"/>
                </a:solidFill>
              </a:defRPr>
            </a:lvl1pPr>
          </a:lstStyle>
          <a:p>
            <a:r>
              <a:rPr lang="en-US">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3775608997"/>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99" r:id="rId9"/>
    <p:sldLayoutId id="2147483800" r:id="rId10"/>
    <p:sldLayoutId id="2147483801" r:id="rId11"/>
    <p:sldLayoutId id="2147483802" r:id="rId12"/>
    <p:sldLayoutId id="2147483803" r:id="rId13"/>
    <p:sldLayoutId id="2147484380" r:id="rId14"/>
    <p:sldLayoutId id="2147484381" r:id="rId15"/>
    <p:sldLayoutId id="2147484382" r:id="rId16"/>
    <p:sldLayoutId id="2147484383" r:id="rId17"/>
    <p:sldLayoutId id="2147484384" r:id="rId18"/>
    <p:sldLayoutId id="2147484385" r:id="rId19"/>
  </p:sldLayoutIdLst>
  <p:hf hdr="0" dt="0"/>
  <p:txStyles>
    <p:titleStyle>
      <a:lvl1pPr marL="0" algn="l" defTabSz="914400" rtl="0" eaLnBrk="1" latinLnBrk="0" hangingPunct="1">
        <a:lnSpc>
          <a:spcPct val="80000"/>
        </a:lnSpc>
        <a:spcBef>
          <a:spcPct val="0"/>
        </a:spcBef>
        <a:buNone/>
        <a:defRPr lang="en-US" sz="3200" b="0" kern="1200" cap="all" spc="300" baseline="0" dirty="0">
          <a:solidFill>
            <a:schemeClr val="tx1"/>
          </a:solidFill>
          <a:latin typeface="Arial" panose="020B0604020202020204" pitchFamily="34" charset="0"/>
          <a:ea typeface="+mj-ea"/>
          <a:cs typeface="Arial" panose="020B0604020202020204" pitchFamily="34" charset="0"/>
        </a:defRPr>
      </a:lvl1pPr>
    </p:titleStyle>
    <p:bodyStyle>
      <a:lvl1pPr marL="219456"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2200" kern="1200" baseline="0">
          <a:solidFill>
            <a:schemeClr val="tx1"/>
          </a:solidFill>
          <a:latin typeface="Arial" panose="020B0604020202020204" pitchFamily="34" charset="0"/>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8">
          <p15:clr>
            <a:srgbClr val="547EBF"/>
          </p15:clr>
        </p15:guide>
        <p15:guide id="3" pos="432">
          <p15:clr>
            <a:srgbClr val="547EBF"/>
          </p15:clr>
        </p15:guide>
        <p15:guide id="4" orient="horz" pos="3888">
          <p15:clr>
            <a:srgbClr val="547EBF"/>
          </p15:clr>
        </p15:guide>
        <p15:guide id="5" orient="horz" pos="288">
          <p15:clr>
            <a:srgbClr val="547EBF"/>
          </p15:clr>
        </p15:guide>
        <p15:guide id="6" pos="1416">
          <p15:clr>
            <a:srgbClr val="A4A3A4"/>
          </p15:clr>
        </p15:guide>
        <p15:guide id="7" pos="1608">
          <p15:clr>
            <a:srgbClr val="A4A3A4"/>
          </p15:clr>
        </p15:guide>
        <p15:guide id="8" pos="3744">
          <p15:clr>
            <a:srgbClr val="A4A3A4"/>
          </p15:clr>
        </p15:guide>
        <p15:guide id="9" pos="3936">
          <p15:clr>
            <a:srgbClr val="A4A3A4"/>
          </p15:clr>
        </p15:guide>
        <p15:guide id="10" pos="4920">
          <p15:clr>
            <a:srgbClr val="A4A3A4"/>
          </p15:clr>
        </p15:guide>
        <p15:guide id="11" pos="5088">
          <p15:clr>
            <a:srgbClr val="A4A3A4"/>
          </p15:clr>
        </p15:guide>
        <p15:guide id="12" pos="6072">
          <p15:clr>
            <a:srgbClr val="A4A3A4"/>
          </p15:clr>
        </p15:guide>
        <p15:guide id="13" pos="6264">
          <p15:clr>
            <a:srgbClr val="A4A3A4"/>
          </p15:clr>
        </p15:guide>
        <p15:guide id="14" pos="2592">
          <p15:clr>
            <a:srgbClr val="A4A3A4"/>
          </p15:clr>
        </p15:guide>
        <p15:guide id="15" pos="2760">
          <p15:clr>
            <a:srgbClr val="A4A3A4"/>
          </p15:clr>
        </p15:guide>
        <p15:guide id="16" orient="horz" pos="720">
          <p15:clr>
            <a:srgbClr val="547EBF"/>
          </p15:clr>
        </p15:guide>
        <p15:guide id="17" orient="horz" pos="480">
          <p15:clr>
            <a:srgbClr val="547EBF"/>
          </p15:clr>
        </p15:guide>
        <p15:guide id="18" orient="horz" pos="984">
          <p15:clr>
            <a:srgbClr val="F26B43"/>
          </p15:clr>
        </p15:guide>
        <p15:guide id="19" orient="horz" pos="364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B6C8E1-5162-A049-A9C3-1F56E4D8CBFF}"/>
              </a:ext>
            </a:extLst>
          </p:cNvPr>
          <p:cNvPicPr>
            <a:picLocks noChangeAspect="1"/>
          </p:cNvPicPr>
          <p:nvPr userDrawn="1"/>
        </p:nvPicPr>
        <p:blipFill>
          <a:blip r:embed="rId20">
            <a:extLst>
              <a:ext uri="{96DAC541-7B7A-43D3-8B79-37D633B846F1}">
                <asvg:svgBlip xmlns:asvg="http://schemas.microsoft.com/office/drawing/2016/SVG/main" r:embed="rId21"/>
              </a:ext>
            </a:extLst>
          </a:blip>
          <a:stretch>
            <a:fillRect/>
          </a:stretch>
        </p:blipFill>
        <p:spPr>
          <a:xfrm>
            <a:off x="439469" y="6282751"/>
            <a:ext cx="1307035" cy="216396"/>
          </a:xfrm>
          <a:prstGeom prst="rect">
            <a:avLst/>
          </a:prstGeom>
        </p:spPr>
      </p:pic>
      <p:sp>
        <p:nvSpPr>
          <p:cNvPr id="6" name="Slide number"/>
          <p:cNvSpPr>
            <a:spLocks noGrp="1"/>
          </p:cNvSpPr>
          <p:nvPr>
            <p:ph type="sldNum" sz="quarter" idx="4"/>
          </p:nvPr>
        </p:nvSpPr>
        <p:spPr>
          <a:xfrm>
            <a:off x="10983397" y="6380415"/>
            <a:ext cx="531947"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 name="Body"/>
          <p:cNvSpPr>
            <a:spLocks noGrp="1"/>
          </p:cNvSpPr>
          <p:nvPr>
            <p:ph type="body" idx="1"/>
          </p:nvPr>
        </p:nvSpPr>
        <p:spPr>
          <a:xfrm>
            <a:off x="685801" y="1465711"/>
            <a:ext cx="10821419" cy="42291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4"/>
          <p:cNvSpPr>
            <a:spLocks noGrp="1"/>
          </p:cNvSpPr>
          <p:nvPr>
            <p:ph type="title"/>
          </p:nvPr>
        </p:nvSpPr>
        <p:spPr>
          <a:xfrm>
            <a:off x="694944" y="492842"/>
            <a:ext cx="10811256" cy="679745"/>
          </a:xfrm>
          <a:prstGeom prst="rect">
            <a:avLst/>
          </a:prstGeom>
        </p:spPr>
        <p:txBody>
          <a:bodyPr vert="horz" lIns="0" tIns="0" rIns="0" bIns="0" rtlCol="0" anchor="t" anchorCtr="0">
            <a:noAutofit/>
          </a:bodyPr>
          <a:lstStyle/>
          <a:p>
            <a:r>
              <a:rPr lang="en-US" dirty="0"/>
              <a:t>CLICK TO EDIT MASTER TITLE STYLE</a:t>
            </a:r>
          </a:p>
        </p:txBody>
      </p:sp>
      <p:cxnSp>
        <p:nvCxnSpPr>
          <p:cNvPr id="8" name="Straight Connector 7">
            <a:extLst>
              <a:ext uri="{FF2B5EF4-FFF2-40B4-BE49-F238E27FC236}">
                <a16:creationId xmlns:a16="http://schemas.microsoft.com/office/drawing/2014/main" id="{B76676FC-D680-2646-8177-363F9684694B}"/>
              </a:ext>
            </a:extLst>
          </p:cNvPr>
          <p:cNvCxnSpPr>
            <a:cxnSpLocks/>
          </p:cNvCxnSpPr>
          <p:nvPr userDrawn="1"/>
        </p:nvCxnSpPr>
        <p:spPr>
          <a:xfrm>
            <a:off x="752529" y="27537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1" name="Footer Placeholder 3">
            <a:extLst>
              <a:ext uri="{FF2B5EF4-FFF2-40B4-BE49-F238E27FC236}">
                <a16:creationId xmlns:a16="http://schemas.microsoft.com/office/drawing/2014/main" id="{3BE96872-F016-3945-917E-2289792C5C73}"/>
              </a:ext>
            </a:extLst>
          </p:cNvPr>
          <p:cNvSpPr>
            <a:spLocks noGrp="1"/>
          </p:cNvSpPr>
          <p:nvPr>
            <p:ph type="ftr" sz="quarter" idx="3"/>
          </p:nvPr>
        </p:nvSpPr>
        <p:spPr>
          <a:xfrm>
            <a:off x="85293" y="6583701"/>
            <a:ext cx="10072499" cy="274299"/>
          </a:xfrm>
          <a:prstGeom prst="rect">
            <a:avLst/>
          </a:prstGeom>
        </p:spPr>
        <p:txBody>
          <a:bodyPr vert="horz" lIns="91440" tIns="45720" rIns="91440" bIns="45720" rtlCol="0" anchor="t" anchorCtr="0"/>
          <a:lstStyle>
            <a:lvl1pPr algn="l">
              <a:defRPr sz="600">
                <a:solidFill>
                  <a:schemeClr val="tx1"/>
                </a:solidFill>
              </a:defRPr>
            </a:lvl1pPr>
          </a:lstStyle>
          <a:p>
            <a:r>
              <a:rPr lang="en-US" dirty="0">
                <a:cs typeface="DIN-Light"/>
              </a:rPr>
              <a:t>© 2022 Collins Aerospace.  | Collins Aerospace Proprietary.  |  This document does not include any export controlled technical data.</a:t>
            </a:r>
            <a:endParaRPr lang="en-US" dirty="0"/>
          </a:p>
        </p:txBody>
      </p:sp>
    </p:spTree>
    <p:extLst>
      <p:ext uri="{BB962C8B-B14F-4D97-AF65-F5344CB8AC3E}">
        <p14:creationId xmlns:p14="http://schemas.microsoft.com/office/powerpoint/2010/main" val="982112218"/>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804" r:id="rId11"/>
    <p:sldLayoutId id="2147483805" r:id="rId12"/>
    <p:sldLayoutId id="2147483806" r:id="rId13"/>
    <p:sldLayoutId id="2147483807" r:id="rId14"/>
    <p:sldLayoutId id="2147483808" r:id="rId15"/>
    <p:sldLayoutId id="2147484388" r:id="rId16"/>
    <p:sldLayoutId id="2147484389" r:id="rId17"/>
    <p:sldLayoutId id="2147484390" r:id="rId18"/>
  </p:sldLayoutIdLst>
  <p:hf hdr="0" dt="0"/>
  <p:txStyles>
    <p:titleStyle>
      <a:lvl1pPr marL="0" algn="l" defTabSz="914377" rtl="0" eaLnBrk="1" latinLnBrk="0" hangingPunct="1">
        <a:lnSpc>
          <a:spcPct val="80000"/>
        </a:lnSpc>
        <a:spcBef>
          <a:spcPct val="0"/>
        </a:spcBef>
        <a:buNone/>
        <a:defRPr lang="en-US" sz="3200" b="0" kern="1200" cap="all" spc="300" baseline="0" dirty="0">
          <a:solidFill>
            <a:schemeClr val="tx1"/>
          </a:solidFill>
          <a:latin typeface="Arial" panose="020B0604020202020204" pitchFamily="34" charset="0"/>
          <a:ea typeface="+mj-ea"/>
          <a:cs typeface="Arial" panose="020B0604020202020204" pitchFamily="34" charset="0"/>
        </a:defRPr>
      </a:lvl1pPr>
    </p:titleStyle>
    <p:bodyStyle>
      <a:lvl1pPr marL="219451"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sz="2200" kern="1200" baseline="0">
          <a:solidFill>
            <a:schemeClr val="tx1"/>
          </a:solidFill>
          <a:latin typeface="Arial" panose="020B0604020202020204" pitchFamily="34" charset="0"/>
          <a:ea typeface="+mn-ea"/>
          <a:cs typeface="+mn-cs"/>
        </a:defRPr>
      </a:lvl1pPr>
      <a:lvl2pPr marL="438901" indent="-219451" algn="l" defTabSz="914377"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76"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a:solidFill>
            <a:schemeClr val="tx1"/>
          </a:solidFill>
          <a:latin typeface="+mn-lt"/>
          <a:ea typeface="+mn-ea"/>
          <a:cs typeface="+mn-cs"/>
        </a:defRPr>
      </a:lvl3pPr>
      <a:lvl4pPr marL="841227" indent="-219451" algn="l" defTabSz="914377"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677" indent="-219451" algn="l" defTabSz="914377"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8">
          <p15:clr>
            <a:srgbClr val="547EBF"/>
          </p15:clr>
        </p15:guide>
        <p15:guide id="3" pos="432">
          <p15:clr>
            <a:srgbClr val="547EBF"/>
          </p15:clr>
        </p15:guide>
        <p15:guide id="4" orient="horz" pos="3888">
          <p15:clr>
            <a:srgbClr val="547EBF"/>
          </p15:clr>
        </p15:guide>
        <p15:guide id="5" orient="horz" pos="288">
          <p15:clr>
            <a:srgbClr val="547EBF"/>
          </p15:clr>
        </p15:guide>
        <p15:guide id="6" pos="1416">
          <p15:clr>
            <a:srgbClr val="A4A3A4"/>
          </p15:clr>
        </p15:guide>
        <p15:guide id="7" pos="1608">
          <p15:clr>
            <a:srgbClr val="A4A3A4"/>
          </p15:clr>
        </p15:guide>
        <p15:guide id="8" pos="3744">
          <p15:clr>
            <a:srgbClr val="A4A3A4"/>
          </p15:clr>
        </p15:guide>
        <p15:guide id="9" pos="3936">
          <p15:clr>
            <a:srgbClr val="A4A3A4"/>
          </p15:clr>
        </p15:guide>
        <p15:guide id="10" pos="4920">
          <p15:clr>
            <a:srgbClr val="A4A3A4"/>
          </p15:clr>
        </p15:guide>
        <p15:guide id="11" pos="5088">
          <p15:clr>
            <a:srgbClr val="A4A3A4"/>
          </p15:clr>
        </p15:guide>
        <p15:guide id="12" pos="6072">
          <p15:clr>
            <a:srgbClr val="A4A3A4"/>
          </p15:clr>
        </p15:guide>
        <p15:guide id="13" pos="6264">
          <p15:clr>
            <a:srgbClr val="A4A3A4"/>
          </p15:clr>
        </p15:guide>
        <p15:guide id="14" pos="2592">
          <p15:clr>
            <a:srgbClr val="A4A3A4"/>
          </p15:clr>
        </p15:guide>
        <p15:guide id="15" pos="2760">
          <p15:clr>
            <a:srgbClr val="A4A3A4"/>
          </p15:clr>
        </p15:guide>
        <p15:guide id="16" orient="horz" pos="720">
          <p15:clr>
            <a:srgbClr val="547EBF"/>
          </p15:clr>
        </p15:guide>
        <p15:guide id="17" orient="horz" pos="480">
          <p15:clr>
            <a:srgbClr val="547EBF"/>
          </p15:clr>
        </p15:guide>
        <p15:guide id="18" orient="horz" pos="984">
          <p15:clr>
            <a:srgbClr val="F26B43"/>
          </p15:clr>
        </p15:guide>
        <p15:guide id="19" orient="horz" pos="364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78B6C8E1-5162-A049-A9C3-1F56E4D8CBFF}"/>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439469" y="6282751"/>
            <a:ext cx="1307035" cy="216396"/>
          </a:xfrm>
          <a:prstGeom prst="rect">
            <a:avLst/>
          </a:prstGeom>
        </p:spPr>
      </p:pic>
      <p:sp>
        <p:nvSpPr>
          <p:cNvPr id="6"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9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 name="Body"/>
          <p:cNvSpPr>
            <a:spLocks noGrp="1"/>
          </p:cNvSpPr>
          <p:nvPr>
            <p:ph type="body" idx="1"/>
          </p:nvPr>
        </p:nvSpPr>
        <p:spPr>
          <a:xfrm>
            <a:off x="685800" y="1465711"/>
            <a:ext cx="10821419" cy="42291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itle Placeholder 14"/>
          <p:cNvSpPr>
            <a:spLocks noGrp="1"/>
          </p:cNvSpPr>
          <p:nvPr>
            <p:ph type="title"/>
          </p:nvPr>
        </p:nvSpPr>
        <p:spPr>
          <a:xfrm>
            <a:off x="694944" y="492841"/>
            <a:ext cx="10811256" cy="679745"/>
          </a:xfrm>
          <a:prstGeom prst="rect">
            <a:avLst/>
          </a:prstGeom>
        </p:spPr>
        <p:txBody>
          <a:bodyPr vert="horz" lIns="0" tIns="0" rIns="0" bIns="0" rtlCol="0" anchor="t" anchorCtr="0">
            <a:noAutofit/>
          </a:bodyPr>
          <a:lstStyle/>
          <a:p>
            <a:r>
              <a:rPr lang="en-US"/>
              <a:t>Click to edit Master title style</a:t>
            </a:r>
            <a:endParaRPr lang="en-US" dirty="0"/>
          </a:p>
        </p:txBody>
      </p:sp>
      <p:cxnSp>
        <p:nvCxnSpPr>
          <p:cNvPr id="8" name="Straight Connector 7">
            <a:extLst>
              <a:ext uri="{FF2B5EF4-FFF2-40B4-BE49-F238E27FC236}">
                <a16:creationId xmlns:a16="http://schemas.microsoft.com/office/drawing/2014/main" id="{B76676FC-D680-2646-8177-363F9684694B}"/>
              </a:ext>
            </a:extLst>
          </p:cNvPr>
          <p:cNvCxnSpPr>
            <a:cxnSpLocks/>
          </p:cNvCxnSpPr>
          <p:nvPr/>
        </p:nvCxnSpPr>
        <p:spPr>
          <a:xfrm>
            <a:off x="752528" y="27537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11" name="Footer Placeholder 3">
            <a:extLst>
              <a:ext uri="{FF2B5EF4-FFF2-40B4-BE49-F238E27FC236}">
                <a16:creationId xmlns:a16="http://schemas.microsoft.com/office/drawing/2014/main" id="{3BE96872-F016-3945-917E-2289792C5C73}"/>
              </a:ext>
            </a:extLst>
          </p:cNvPr>
          <p:cNvSpPr>
            <a:spLocks noGrp="1"/>
          </p:cNvSpPr>
          <p:nvPr>
            <p:ph type="ftr" sz="quarter" idx="3"/>
          </p:nvPr>
        </p:nvSpPr>
        <p:spPr>
          <a:xfrm>
            <a:off x="85293" y="6583702"/>
            <a:ext cx="10072498" cy="274298"/>
          </a:xfrm>
          <a:prstGeom prst="rect">
            <a:avLst/>
          </a:prstGeom>
        </p:spPr>
        <p:txBody>
          <a:bodyPr vert="horz" lIns="91440" tIns="45720" rIns="91440" bIns="45720" rtlCol="0" anchor="t" anchorCtr="0"/>
          <a:lstStyle>
            <a:lvl1pPr algn="l">
              <a:defRPr sz="600">
                <a:solidFill>
                  <a:schemeClr val="tx1"/>
                </a:solidFill>
              </a:defRPr>
            </a:lvl1pPr>
          </a:lstStyle>
          <a:p>
            <a:r>
              <a:rPr lang="en-US">
                <a:cs typeface="DIN-Light"/>
              </a:rPr>
              <a:t>© 2022 Collins Aerospace.  | Collins Aerospace Proprietary.  |  This document does not include any export controlled technical data.</a:t>
            </a:r>
            <a:endParaRPr lang="en-US" dirty="0"/>
          </a:p>
        </p:txBody>
      </p:sp>
      <p:sp>
        <p:nvSpPr>
          <p:cNvPr id="2" name="Date Placeholder 1">
            <a:extLst>
              <a:ext uri="{FF2B5EF4-FFF2-40B4-BE49-F238E27FC236}">
                <a16:creationId xmlns:a16="http://schemas.microsoft.com/office/drawing/2014/main" id="{114FC5ED-8E49-43F4-AC11-0F643E32B9B9}"/>
              </a:ext>
            </a:extLst>
          </p:cNvPr>
          <p:cNvSpPr>
            <a:spLocks noGrp="1"/>
          </p:cNvSpPr>
          <p:nvPr>
            <p:ph type="dt" sz="half" idx="2"/>
          </p:nvPr>
        </p:nvSpPr>
        <p:spPr>
          <a:xfrm>
            <a:off x="10494762" y="5855050"/>
            <a:ext cx="1020581"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9" name="Copyright">
            <a:extLst>
              <a:ext uri="{FF2B5EF4-FFF2-40B4-BE49-F238E27FC236}">
                <a16:creationId xmlns:a16="http://schemas.microsoft.com/office/drawing/2014/main" id="{63AC8BC7-1E60-49AF-AB8C-E1A273601F19}"/>
              </a:ext>
            </a:extLst>
          </p:cNvPr>
          <p:cNvSpPr txBox="1">
            <a:spLocks noChangeArrowheads="1"/>
          </p:cNvSpPr>
          <p:nvPr userDrawn="1"/>
        </p:nvSpPr>
        <p:spPr bwMode="auto">
          <a:xfrm>
            <a:off x="4963949" y="6956980"/>
            <a:ext cx="2264102" cy="92333"/>
          </a:xfrm>
          <a:prstGeom prst="rect">
            <a:avLst/>
          </a:prstGeom>
          <a:solidFill>
            <a:srgbClr val="E6E6E6"/>
          </a:solid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230188" indent="-230188">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6pPr>
            <a:lvl7pPr marL="29718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7pPr>
            <a:lvl8pPr marL="34290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8pPr>
            <a:lvl9pPr marL="38862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9pPr>
          </a:lstStyle>
          <a:p>
            <a:pPr marL="0" indent="0" algn="ctr"/>
            <a:endParaRPr lang="en-US" sz="600" dirty="0">
              <a:solidFill>
                <a:schemeClr val="bg1"/>
              </a:solidFill>
            </a:endParaRPr>
          </a:p>
        </p:txBody>
      </p:sp>
    </p:spTree>
    <p:extLst>
      <p:ext uri="{BB962C8B-B14F-4D97-AF65-F5344CB8AC3E}">
        <p14:creationId xmlns:p14="http://schemas.microsoft.com/office/powerpoint/2010/main" val="342419515"/>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4110" r:id="rId18"/>
    <p:sldLayoutId id="2147484111" r:id="rId19"/>
    <p:sldLayoutId id="2147484112" r:id="rId20"/>
    <p:sldLayoutId id="2147484113" r:id="rId21"/>
    <p:sldLayoutId id="2147484114" r:id="rId22"/>
    <p:sldLayoutId id="2147484115" r:id="rId23"/>
    <p:sldLayoutId id="2147484116" r:id="rId24"/>
    <p:sldLayoutId id="2147484386" r:id="rId25"/>
    <p:sldLayoutId id="2147484387" r:id="rId26"/>
  </p:sldLayoutIdLst>
  <p:hf hdr="0"/>
  <p:txStyles>
    <p:titleStyle>
      <a:lvl1pPr marL="0" algn="l" defTabSz="914400" rtl="0" eaLnBrk="1" latinLnBrk="0" hangingPunct="1">
        <a:lnSpc>
          <a:spcPct val="80000"/>
        </a:lnSpc>
        <a:spcBef>
          <a:spcPct val="0"/>
        </a:spcBef>
        <a:buNone/>
        <a:defRPr lang="en-US" sz="3200" b="0" kern="1200" cap="all" spc="300" baseline="0" dirty="0">
          <a:solidFill>
            <a:schemeClr val="tx1"/>
          </a:solidFill>
          <a:latin typeface="Arial" panose="020B0604020202020204" pitchFamily="34" charset="0"/>
          <a:ea typeface="+mj-ea"/>
          <a:cs typeface="Arial" panose="020B0604020202020204" pitchFamily="34" charset="0"/>
        </a:defRPr>
      </a:lvl1pPr>
    </p:titleStyle>
    <p:bodyStyle>
      <a:lvl1pPr marL="219456"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baseline="0">
          <a:solidFill>
            <a:schemeClr val="tx1"/>
          </a:solidFill>
          <a:latin typeface="Arial" panose="020B0604020202020204" pitchFamily="34" charset="0"/>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8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288">
          <p15:clr>
            <a:srgbClr val="547EBF"/>
          </p15:clr>
        </p15:guide>
        <p15:guide id="16" orient="horz" pos="720">
          <p15:clr>
            <a:srgbClr val="547EBF"/>
          </p15:clr>
        </p15:guide>
        <p15:guide id="17" orient="horz" pos="480">
          <p15:clr>
            <a:srgbClr val="547EBF"/>
          </p15:clr>
        </p15:guide>
        <p15:guide id="18" orient="horz" pos="984">
          <p15:clr>
            <a:srgbClr val="F26B43"/>
          </p15:clr>
        </p15:guide>
        <p15:guide id="19" orient="horz" pos="3648">
          <p15:clr>
            <a:srgbClr val="F26B43"/>
          </p15:clr>
        </p15:guide>
        <p15:guide id="20" pos="432">
          <p15:clr>
            <a:srgbClr val="A4A3A4"/>
          </p15:clr>
        </p15:guide>
        <p15:guide id="21" pos="7248">
          <p15:clr>
            <a:srgbClr val="A4A3A4"/>
          </p15:clr>
        </p15:guide>
        <p15:guide id="22" pos="1416">
          <p15:clr>
            <a:srgbClr val="A4A3A4"/>
          </p15:clr>
        </p15:guide>
        <p15:guide id="23" pos="1608">
          <p15:clr>
            <a:srgbClr val="A4A3A4"/>
          </p15:clr>
        </p15:guide>
        <p15:guide id="24" pos="2592">
          <p15:clr>
            <a:srgbClr val="A4A3A4"/>
          </p15:clr>
        </p15:guide>
        <p15:guide id="25" pos="2760">
          <p15:clr>
            <a:srgbClr val="A4A3A4"/>
          </p15:clr>
        </p15:guide>
        <p15:guide id="26" pos="3744">
          <p15:clr>
            <a:srgbClr val="A4A3A4"/>
          </p15:clr>
        </p15:guide>
        <p15:guide id="27" pos="3936">
          <p15:clr>
            <a:srgbClr val="A4A3A4"/>
          </p15:clr>
        </p15:guide>
        <p15:guide id="28" pos="4920">
          <p15:clr>
            <a:srgbClr val="A4A3A4"/>
          </p15:clr>
        </p15:guide>
        <p15:guide id="29" pos="5088">
          <p15:clr>
            <a:srgbClr val="A4A3A4"/>
          </p15:clr>
        </p15:guide>
        <p15:guide id="30" pos="6072">
          <p15:clr>
            <a:srgbClr val="A4A3A4"/>
          </p15:clr>
        </p15:guide>
        <p15:guide id="31" pos="6264">
          <p15:clr>
            <a:srgbClr val="A4A3A4"/>
          </p15:clr>
        </p15:guide>
        <p15:guide id="32" orient="horz" pos="3888">
          <p15:clr>
            <a:srgbClr val="547EBF"/>
          </p15:clr>
        </p15:guide>
        <p15:guide id="33" orient="horz" pos="1296">
          <p15:clr>
            <a:srgbClr val="547EBF"/>
          </p15:clr>
        </p15:guide>
        <p15:guide id="34" orient="horz" pos="2592">
          <p15:clr>
            <a:srgbClr val="547EBF"/>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A7B83F-8973-4445-AD42-3FA6B2AA52D7}"/>
              </a:ext>
            </a:extLst>
          </p:cNvPr>
          <p:cNvGraphicFramePr>
            <a:graphicFrameLocks noChangeAspect="1"/>
          </p:cNvGraphicFramePr>
          <p:nvPr userDrawn="1">
            <p:custDataLst>
              <p:tags r:id="rId51"/>
            </p:custDataLst>
            <p:extLst>
              <p:ext uri="{D42A27DB-BD31-4B8C-83A1-F6EECF244321}">
                <p14:modId xmlns:p14="http://schemas.microsoft.com/office/powerpoint/2010/main" val="1703721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2" imgW="353" imgH="353" progId="TCLayout.ActiveDocument.1">
                  <p:embed/>
                </p:oleObj>
              </mc:Choice>
              <mc:Fallback>
                <p:oleObj name="think-cell Slide" r:id="rId52" imgW="353" imgH="353" progId="TCLayout.ActiveDocument.1">
                  <p:embed/>
                  <p:pic>
                    <p:nvPicPr>
                      <p:cNvPr id="5" name="Object 4" hidden="1">
                        <a:extLst>
                          <a:ext uri="{FF2B5EF4-FFF2-40B4-BE49-F238E27FC236}">
                            <a16:creationId xmlns:a16="http://schemas.microsoft.com/office/drawing/2014/main" id="{69A7B83F-8973-4445-AD42-3FA6B2AA52D7}"/>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78B6C8E1-5162-A049-A9C3-1F56E4D8CBFF}"/>
              </a:ext>
            </a:extLst>
          </p:cNvPr>
          <p:cNvPicPr>
            <a:picLocks noChangeAspect="1"/>
          </p:cNvPicPr>
          <p:nvPr userDrawn="1"/>
        </p:nvPicPr>
        <p:blipFill>
          <a:blip r:embed="rId54">
            <a:extLst>
              <a:ext uri="{28A0092B-C50C-407E-A947-70E740481C1C}">
                <a14:useLocalDpi xmlns:a14="http://schemas.microsoft.com/office/drawing/2010/main" val="0"/>
              </a:ext>
              <a:ext uri="{96DAC541-7B7A-43D3-8B79-37D633B846F1}">
                <asvg:svgBlip xmlns:asvg="http://schemas.microsoft.com/office/drawing/2016/SVG/main" r:embed="rId55"/>
              </a:ext>
            </a:extLst>
          </a:blip>
          <a:stretch>
            <a:fillRect/>
          </a:stretch>
        </p:blipFill>
        <p:spPr>
          <a:xfrm>
            <a:off x="439469" y="6282751"/>
            <a:ext cx="1307035" cy="216396"/>
          </a:xfrm>
          <a:prstGeom prst="rect">
            <a:avLst/>
          </a:prstGeom>
        </p:spPr>
      </p:pic>
      <p:sp>
        <p:nvSpPr>
          <p:cNvPr id="6" name="Slide number"/>
          <p:cNvSpPr>
            <a:spLocks noGrp="1"/>
          </p:cNvSpPr>
          <p:nvPr>
            <p:ph type="sldNum" sz="quarter" idx="4"/>
          </p:nvPr>
        </p:nvSpPr>
        <p:spPr>
          <a:xfrm>
            <a:off x="10983397" y="6380414"/>
            <a:ext cx="531946" cy="365125"/>
          </a:xfrm>
          <a:prstGeom prst="rect">
            <a:avLst/>
          </a:prstGeom>
        </p:spPr>
        <p:txBody>
          <a:bodyPr vert="horz" lIns="0" tIns="0" rIns="0" bIns="0" rtlCol="0" anchor="t" anchorCtr="0"/>
          <a:lstStyle>
            <a:lvl1pPr algn="r">
              <a:defRPr lang="en-US" sz="1200" kern="1200" smtClean="0">
                <a:solidFill>
                  <a:schemeClr val="tx1">
                    <a:tint val="75000"/>
                  </a:schemeClr>
                </a:solidFill>
                <a:latin typeface="+mn-lt"/>
                <a:ea typeface="+mn-ea"/>
                <a:cs typeface="+mn-cs"/>
              </a:defRPr>
            </a:lvl1pPr>
          </a:lstStyle>
          <a:p>
            <a:fld id="{07165E6F-54ED-4977-A15E-D44BE7238A65}" type="slidenum">
              <a:rPr lang="en-US" smtClean="0"/>
              <a:pPr/>
              <a:t>‹#›</a:t>
            </a:fld>
            <a:endParaRPr lang="en-US" dirty="0"/>
          </a:p>
        </p:txBody>
      </p:sp>
      <p:sp>
        <p:nvSpPr>
          <p:cNvPr id="3" name="Body"/>
          <p:cNvSpPr>
            <a:spLocks noGrp="1"/>
          </p:cNvSpPr>
          <p:nvPr>
            <p:ph type="body" idx="1"/>
          </p:nvPr>
        </p:nvSpPr>
        <p:spPr>
          <a:xfrm>
            <a:off x="685800" y="1465711"/>
            <a:ext cx="10821419" cy="42291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Placeholder 14"/>
          <p:cNvSpPr>
            <a:spLocks noGrp="1"/>
          </p:cNvSpPr>
          <p:nvPr>
            <p:ph type="title"/>
          </p:nvPr>
        </p:nvSpPr>
        <p:spPr>
          <a:xfrm>
            <a:off x="694944" y="492841"/>
            <a:ext cx="10811256" cy="679745"/>
          </a:xfrm>
          <a:prstGeom prst="rect">
            <a:avLst/>
          </a:prstGeom>
        </p:spPr>
        <p:txBody>
          <a:bodyPr vert="horz" lIns="0" tIns="0" rIns="0" bIns="0" rtlCol="0" anchor="t" anchorCtr="0">
            <a:noAutofit/>
          </a:bodyPr>
          <a:lstStyle/>
          <a:p>
            <a:r>
              <a:rPr lang="en-US" dirty="0"/>
              <a:t>CLICK TO EDIT MASTER TITLE STYLE</a:t>
            </a:r>
          </a:p>
        </p:txBody>
      </p:sp>
      <p:cxnSp>
        <p:nvCxnSpPr>
          <p:cNvPr id="8" name="Straight Connector 7">
            <a:extLst>
              <a:ext uri="{FF2B5EF4-FFF2-40B4-BE49-F238E27FC236}">
                <a16:creationId xmlns:a16="http://schemas.microsoft.com/office/drawing/2014/main" id="{B76676FC-D680-2646-8177-363F9684694B}"/>
              </a:ext>
            </a:extLst>
          </p:cNvPr>
          <p:cNvCxnSpPr>
            <a:cxnSpLocks/>
          </p:cNvCxnSpPr>
          <p:nvPr userDrawn="1"/>
        </p:nvCxnSpPr>
        <p:spPr>
          <a:xfrm>
            <a:off x="752528" y="275372"/>
            <a:ext cx="11436297" cy="0"/>
          </a:xfrm>
          <a:prstGeom prst="line">
            <a:avLst/>
          </a:prstGeom>
          <a:ln w="19050" cap="sq">
            <a:solidFill>
              <a:srgbClr val="CE1126"/>
            </a:solidFill>
            <a:headEnd type="oval" w="sm" len="sm"/>
          </a:ln>
          <a:effectLst/>
        </p:spPr>
        <p:style>
          <a:lnRef idx="2">
            <a:schemeClr val="accent1"/>
          </a:lnRef>
          <a:fillRef idx="0">
            <a:schemeClr val="accent1"/>
          </a:fillRef>
          <a:effectRef idx="1">
            <a:schemeClr val="accent1"/>
          </a:effectRef>
          <a:fontRef idx="minor">
            <a:schemeClr val="tx1"/>
          </a:fontRef>
        </p:style>
      </p:cxnSp>
      <p:sp>
        <p:nvSpPr>
          <p:cNvPr id="9" name="Copyright">
            <a:extLst>
              <a:ext uri="{FF2B5EF4-FFF2-40B4-BE49-F238E27FC236}">
                <a16:creationId xmlns:a16="http://schemas.microsoft.com/office/drawing/2014/main" id="{62272573-A22E-0143-95A3-EDAAE6F44114}"/>
              </a:ext>
            </a:extLst>
          </p:cNvPr>
          <p:cNvSpPr txBox="1">
            <a:spLocks noChangeArrowheads="1"/>
          </p:cNvSpPr>
          <p:nvPr userDrawn="1"/>
        </p:nvSpPr>
        <p:spPr bwMode="auto">
          <a:xfrm>
            <a:off x="183390" y="6579155"/>
            <a:ext cx="4934520" cy="923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marL="230188" indent="-230188">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6pPr>
            <a:lvl7pPr marL="29718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7pPr>
            <a:lvl8pPr marL="34290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8pPr>
            <a:lvl9pPr marL="3886200" indent="-228600" eaLnBrk="0" fontAlgn="base" hangingPunct="0">
              <a:spcBef>
                <a:spcPct val="20000"/>
              </a:spcBef>
              <a:spcAft>
                <a:spcPct val="0"/>
              </a:spcAft>
              <a:buClr>
                <a:schemeClr val="tx1"/>
              </a:buClr>
              <a:buSzPct val="110000"/>
              <a:defRPr sz="2400">
                <a:solidFill>
                  <a:schemeClr val="tx1"/>
                </a:solidFill>
                <a:latin typeface="Arial" charset="0"/>
                <a:ea typeface="ＭＳ Ｐゴシック"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600" spc="0" baseline="0" dirty="0">
                <a:solidFill>
                  <a:schemeClr val="tx1"/>
                </a:solidFill>
                <a:cs typeface="DIN-Light"/>
              </a:rPr>
              <a:t>© 2021 </a:t>
            </a:r>
            <a:r>
              <a:rPr lang="en-US" sz="600" spc="0" baseline="0" dirty="0">
                <a:solidFill>
                  <a:schemeClr val="tx1"/>
                </a:solidFill>
              </a:rPr>
              <a:t>Collins Aerospace.  </a:t>
            </a:r>
            <a:r>
              <a:rPr lang="en-US" sz="600" spc="0" baseline="0" dirty="0">
                <a:solidFill>
                  <a:srgbClr val="CE1126"/>
                </a:solidFill>
              </a:rPr>
              <a:t>|</a:t>
            </a:r>
            <a:r>
              <a:rPr lang="en-US" sz="600" spc="0" baseline="0" dirty="0">
                <a:solidFill>
                  <a:schemeClr val="tx1"/>
                </a:solidFill>
              </a:rPr>
              <a:t>  </a:t>
            </a:r>
            <a:r>
              <a:rPr lang="en-US" sz="600" spc="0" dirty="0"/>
              <a:t>This document does not include any export controlled technical data.</a:t>
            </a:r>
            <a:endParaRPr lang="en-US" sz="600" b="0" spc="0" dirty="0"/>
          </a:p>
        </p:txBody>
      </p:sp>
    </p:spTree>
    <p:extLst>
      <p:ext uri="{BB962C8B-B14F-4D97-AF65-F5344CB8AC3E}">
        <p14:creationId xmlns:p14="http://schemas.microsoft.com/office/powerpoint/2010/main" val="133746707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894" r:id="rId8"/>
    <p:sldLayoutId id="2147483895" r:id="rId9"/>
    <p:sldLayoutId id="2147483823" r:id="rId10"/>
    <p:sldLayoutId id="2147483824" r:id="rId11"/>
    <p:sldLayoutId id="2147483826" r:id="rId12"/>
    <p:sldLayoutId id="2147483827" r:id="rId13"/>
    <p:sldLayoutId id="2147483828" r:id="rId14"/>
    <p:sldLayoutId id="2147483829" r:id="rId15"/>
    <p:sldLayoutId id="2147483830" r:id="rId16"/>
    <p:sldLayoutId id="2147483831" r:id="rId17"/>
    <p:sldLayoutId id="2147483832" r:id="rId18"/>
    <p:sldLayoutId id="2147483833" r:id="rId19"/>
    <p:sldLayoutId id="2147483834" r:id="rId20"/>
    <p:sldLayoutId id="2147483835" r:id="rId21"/>
    <p:sldLayoutId id="2147483836" r:id="rId22"/>
    <p:sldLayoutId id="2147483837" r:id="rId23"/>
    <p:sldLayoutId id="2147483838" r:id="rId24"/>
    <p:sldLayoutId id="2147483839" r:id="rId25"/>
    <p:sldLayoutId id="2147483840" r:id="rId26"/>
    <p:sldLayoutId id="2147483841" r:id="rId27"/>
    <p:sldLayoutId id="2147483842" r:id="rId28"/>
    <p:sldLayoutId id="2147483843" r:id="rId29"/>
    <p:sldLayoutId id="2147483844" r:id="rId30"/>
    <p:sldLayoutId id="2147483845" r:id="rId31"/>
    <p:sldLayoutId id="2147483846" r:id="rId32"/>
    <p:sldLayoutId id="2147483847" r:id="rId33"/>
    <p:sldLayoutId id="2147483848" r:id="rId34"/>
    <p:sldLayoutId id="2147483849" r:id="rId35"/>
    <p:sldLayoutId id="2147483850" r:id="rId36"/>
    <p:sldLayoutId id="2147483851" r:id="rId37"/>
    <p:sldLayoutId id="2147484186" r:id="rId38"/>
    <p:sldLayoutId id="2147484187" r:id="rId39"/>
    <p:sldLayoutId id="2147484188" r:id="rId40"/>
    <p:sldLayoutId id="2147484189" r:id="rId41"/>
    <p:sldLayoutId id="2147484190" r:id="rId42"/>
    <p:sldLayoutId id="2147484191" r:id="rId43"/>
    <p:sldLayoutId id="2147484192" r:id="rId44"/>
    <p:sldLayoutId id="2147484193" r:id="rId45"/>
    <p:sldLayoutId id="2147484354" r:id="rId46"/>
    <p:sldLayoutId id="2147484358" r:id="rId47"/>
    <p:sldLayoutId id="2147484360" r:id="rId48"/>
    <p:sldLayoutId id="2147484361" r:id="rId49"/>
  </p:sldLayoutIdLst>
  <p:hf sldNum="0" hdr="0" dt="0"/>
  <p:txStyles>
    <p:titleStyle>
      <a:lvl1pPr marL="0" algn="l" defTabSz="914400" rtl="0" eaLnBrk="1" latinLnBrk="0" hangingPunct="1">
        <a:lnSpc>
          <a:spcPct val="80000"/>
        </a:lnSpc>
        <a:spcBef>
          <a:spcPct val="0"/>
        </a:spcBef>
        <a:buNone/>
        <a:defRPr lang="en-US" sz="3200" b="0" kern="1200" cap="all" spc="300" baseline="0" dirty="0">
          <a:solidFill>
            <a:schemeClr val="tx1"/>
          </a:solidFill>
          <a:latin typeface="Arial" panose="020B0604020202020204" pitchFamily="34" charset="0"/>
          <a:ea typeface="+mj-ea"/>
          <a:cs typeface="Arial" panose="020B0604020202020204" pitchFamily="34" charset="0"/>
        </a:defRPr>
      </a:lvl1pPr>
    </p:titleStyle>
    <p:bodyStyle>
      <a:lvl1pPr marL="219456"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2200" kern="1200" baseline="0">
          <a:solidFill>
            <a:schemeClr val="tx1"/>
          </a:solidFill>
          <a:latin typeface="Arial" panose="020B0604020202020204" pitchFamily="34" charset="0"/>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7248">
          <p15:clr>
            <a:srgbClr val="547EBF"/>
          </p15:clr>
        </p15:guide>
        <p15:guide id="3" pos="432">
          <p15:clr>
            <a:srgbClr val="547EBF"/>
          </p15:clr>
        </p15:guide>
        <p15:guide id="4" orient="horz" pos="3888">
          <p15:clr>
            <a:srgbClr val="547EBF"/>
          </p15:clr>
        </p15:guide>
        <p15:guide id="5" orient="horz" pos="288">
          <p15:clr>
            <a:srgbClr val="547EBF"/>
          </p15:clr>
        </p15:guide>
        <p15:guide id="6" pos="1416">
          <p15:clr>
            <a:srgbClr val="A4A3A4"/>
          </p15:clr>
        </p15:guide>
        <p15:guide id="7" pos="1608">
          <p15:clr>
            <a:srgbClr val="A4A3A4"/>
          </p15:clr>
        </p15:guide>
        <p15:guide id="8" pos="3744">
          <p15:clr>
            <a:srgbClr val="A4A3A4"/>
          </p15:clr>
        </p15:guide>
        <p15:guide id="9" pos="3936">
          <p15:clr>
            <a:srgbClr val="A4A3A4"/>
          </p15:clr>
        </p15:guide>
        <p15:guide id="10" pos="4920">
          <p15:clr>
            <a:srgbClr val="A4A3A4"/>
          </p15:clr>
        </p15:guide>
        <p15:guide id="11" pos="5088">
          <p15:clr>
            <a:srgbClr val="A4A3A4"/>
          </p15:clr>
        </p15:guide>
        <p15:guide id="12" pos="6072">
          <p15:clr>
            <a:srgbClr val="A4A3A4"/>
          </p15:clr>
        </p15:guide>
        <p15:guide id="13" pos="6264">
          <p15:clr>
            <a:srgbClr val="A4A3A4"/>
          </p15:clr>
        </p15:guide>
        <p15:guide id="14" pos="2592">
          <p15:clr>
            <a:srgbClr val="A4A3A4"/>
          </p15:clr>
        </p15:guide>
        <p15:guide id="15" pos="2760">
          <p15:clr>
            <a:srgbClr val="A4A3A4"/>
          </p15:clr>
        </p15:guide>
        <p15:guide id="16" orient="horz" pos="720">
          <p15:clr>
            <a:srgbClr val="547EBF"/>
          </p15:clr>
        </p15:guide>
        <p15:guide id="17" orient="horz" pos="480">
          <p15:clr>
            <a:srgbClr val="547EBF"/>
          </p15:clr>
        </p15:guide>
        <p15:guide id="18" orient="horz" pos="984">
          <p15:clr>
            <a:srgbClr val="F26B43"/>
          </p15:clr>
        </p15:guide>
        <p15:guide id="19" orient="horz" pos="364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0.xml"/><Relationship Id="rId1" Type="http://schemas.openxmlformats.org/officeDocument/2006/relationships/tags" Target="../tags/tag2.xml"/></Relationships>
</file>

<file path=ppt/slides/_rels/slide1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11.xml"/><Relationship Id="rId4" Type="http://schemas.openxmlformats.org/officeDocument/2006/relationships/image" Target="../media/image32.png"/></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1.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1.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4.xml"/></Relationships>
</file>

<file path=ppt/slides/_rels/slide27.xml.rels><?xml version="1.0" encoding="UTF-8" standalone="yes"?>
<Relationships xmlns="http://schemas.openxmlformats.org/package/2006/relationships"><Relationship Id="rId3" Type="http://schemas.openxmlformats.org/officeDocument/2006/relationships/hyperlink" Target="mailto:Matthew.twerdy@Collins.com" TargetMode="External"/><Relationship Id="rId2" Type="http://schemas.openxmlformats.org/officeDocument/2006/relationships/hyperlink" Target="mailto:opxsafety@cox.net" TargetMode="External"/><Relationship Id="rId1" Type="http://schemas.openxmlformats.org/officeDocument/2006/relationships/slideLayout" Target="../slideLayouts/slideLayout152.xml"/><Relationship Id="rId4" Type="http://schemas.openxmlformats.org/officeDocument/2006/relationships/image" Target="../media/image43.png"/></Relationships>
</file>

<file path=ppt/slides/_rels/slide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D9D9D6"/>
        </a:solidFill>
        <a:effectLst/>
      </p:bgPr>
    </p:bg>
    <p:spTree>
      <p:nvGrpSpPr>
        <p:cNvPr id="1" name=""/>
        <p:cNvGrpSpPr/>
        <p:nvPr/>
      </p:nvGrpSpPr>
      <p:grpSpPr>
        <a:xfrm>
          <a:off x="0" y="0"/>
          <a:ext cx="0" cy="0"/>
          <a:chOff x="0" y="0"/>
          <a:chExt cx="0" cy="0"/>
        </a:xfrm>
      </p:grpSpPr>
      <p:sp>
        <p:nvSpPr>
          <p:cNvPr id="2" name="Title 1" descr="Title of presentation" title="Barriers to a Positive Safety Culture">
            <a:extLst>
              <a:ext uri="{FF2B5EF4-FFF2-40B4-BE49-F238E27FC236}">
                <a16:creationId xmlns:a16="http://schemas.microsoft.com/office/drawing/2014/main" id="{A5CFB095-A3EC-4A90-A947-BAA17D5A8EBC}"/>
              </a:ext>
            </a:extLst>
          </p:cNvPr>
          <p:cNvSpPr>
            <a:spLocks noGrp="1"/>
          </p:cNvSpPr>
          <p:nvPr>
            <p:ph type="title"/>
          </p:nvPr>
        </p:nvSpPr>
        <p:spPr>
          <a:xfrm>
            <a:off x="1178312" y="1046523"/>
            <a:ext cx="9835374" cy="2130778"/>
          </a:xfrm>
        </p:spPr>
        <p:txBody>
          <a:bodyPr/>
          <a:lstStyle/>
          <a:p>
            <a:pPr algn="ctr"/>
            <a:r>
              <a:rPr lang="en-US" sz="3600" dirty="0">
                <a:latin typeface="Arial" panose="020B0604020202020204" pitchFamily="34" charset="0"/>
                <a:cs typeface="Arial" panose="020B0604020202020204" pitchFamily="34" charset="0"/>
              </a:rPr>
              <a:t>Human &amp; Organizational Performance: A Mindset That Can Universally Drive Operational Excellence</a:t>
            </a:r>
          </a:p>
        </p:txBody>
      </p:sp>
      <p:sp>
        <p:nvSpPr>
          <p:cNvPr id="3" name="Text Placeholder 2">
            <a:extLst>
              <a:ext uri="{FF2B5EF4-FFF2-40B4-BE49-F238E27FC236}">
                <a16:creationId xmlns:a16="http://schemas.microsoft.com/office/drawing/2014/main" id="{C742F20E-2840-4406-B66D-8DB8A72A7BE7}"/>
              </a:ext>
            </a:extLst>
          </p:cNvPr>
          <p:cNvSpPr>
            <a:spLocks noGrp="1"/>
          </p:cNvSpPr>
          <p:nvPr>
            <p:ph type="body" sz="quarter" idx="10"/>
          </p:nvPr>
        </p:nvSpPr>
        <p:spPr>
          <a:xfrm>
            <a:off x="1523998" y="3464613"/>
            <a:ext cx="9144000" cy="650907"/>
          </a:xfrm>
        </p:spPr>
        <p:txBody>
          <a:bodyPr/>
          <a:lstStyle/>
          <a:p>
            <a:r>
              <a:rPr lang="en-US" sz="2800" dirty="0"/>
              <a:t>Pete Susca &amp; Matt Twerdy</a:t>
            </a:r>
          </a:p>
          <a:p>
            <a:endParaRPr lang="en-US" dirty="0"/>
          </a:p>
        </p:txBody>
      </p:sp>
      <p:pic>
        <p:nvPicPr>
          <p:cNvPr id="4" name="Picture 3">
            <a:extLst>
              <a:ext uri="{FF2B5EF4-FFF2-40B4-BE49-F238E27FC236}">
                <a16:creationId xmlns:a16="http://schemas.microsoft.com/office/drawing/2014/main" id="{467E782B-DB0E-E94C-963F-5A0134945158}"/>
              </a:ext>
            </a:extLst>
          </p:cNvPr>
          <p:cNvPicPr>
            <a:picLocks noChangeAspect="1"/>
          </p:cNvPicPr>
          <p:nvPr/>
        </p:nvPicPr>
        <p:blipFill rotWithShape="1">
          <a:blip r:embed="rId3"/>
          <a:srcRect t="26016" b="23252"/>
          <a:stretch/>
        </p:blipFill>
        <p:spPr>
          <a:xfrm>
            <a:off x="4369372" y="4402832"/>
            <a:ext cx="3453253" cy="1751895"/>
          </a:xfrm>
          <a:prstGeom prst="ellipse">
            <a:avLst/>
          </a:prstGeom>
          <a:ln>
            <a:noFill/>
          </a:ln>
          <a:effectLst>
            <a:softEdge rad="112500"/>
          </a:effectLst>
        </p:spPr>
      </p:pic>
      <p:sp>
        <p:nvSpPr>
          <p:cNvPr id="5" name="TextBox 4">
            <a:extLst>
              <a:ext uri="{FF2B5EF4-FFF2-40B4-BE49-F238E27FC236}">
                <a16:creationId xmlns:a16="http://schemas.microsoft.com/office/drawing/2014/main" id="{C9FA23F0-F8B2-71FA-3233-F62E7C8E0930}"/>
              </a:ext>
            </a:extLst>
          </p:cNvPr>
          <p:cNvSpPr txBox="1"/>
          <p:nvPr/>
        </p:nvSpPr>
        <p:spPr>
          <a:xfrm>
            <a:off x="9705471" y="5754617"/>
            <a:ext cx="1925053" cy="400110"/>
          </a:xfrm>
          <a:prstGeom prst="rect">
            <a:avLst/>
          </a:prstGeom>
          <a:noFill/>
        </p:spPr>
        <p:txBody>
          <a:bodyPr wrap="square" rtlCol="0">
            <a:spAutoFit/>
          </a:bodyPr>
          <a:lstStyle/>
          <a:p>
            <a:r>
              <a:rPr lang="en-US" sz="2000" b="1" dirty="0"/>
              <a:t>January 2023</a:t>
            </a:r>
          </a:p>
        </p:txBody>
      </p:sp>
    </p:spTree>
    <p:extLst>
      <p:ext uri="{BB962C8B-B14F-4D97-AF65-F5344CB8AC3E}">
        <p14:creationId xmlns:p14="http://schemas.microsoft.com/office/powerpoint/2010/main" val="40419563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7422CD4A-2F8F-4C49-910D-A58329D88FAA}" type="slidenum">
              <a:rPr lang="en-US" smtClean="0"/>
              <a:t>10</a:t>
            </a:fld>
            <a:endParaRPr lang="en-US"/>
          </a:p>
        </p:txBody>
      </p:sp>
      <p:pic>
        <p:nvPicPr>
          <p:cNvPr id="3" name="Image 4"/>
          <p:cNvPicPr>
            <a:picLocks noChangeAspect="1"/>
          </p:cNvPicPr>
          <p:nvPr/>
        </p:nvPicPr>
        <p:blipFill rotWithShape="1">
          <a:blip r:embed="rId2">
            <a:extLst>
              <a:ext uri="{28A0092B-C50C-407E-A947-70E740481C1C}">
                <a14:useLocalDpi xmlns:a14="http://schemas.microsoft.com/office/drawing/2010/main" val="0"/>
              </a:ext>
            </a:extLst>
          </a:blip>
          <a:srcRect b="11194"/>
          <a:stretch/>
        </p:blipFill>
        <p:spPr>
          <a:xfrm>
            <a:off x="0" y="-457585"/>
            <a:ext cx="12192000" cy="7347857"/>
          </a:xfrm>
          <a:prstGeom prst="rect">
            <a:avLst/>
          </a:prstGeom>
        </p:spPr>
      </p:pic>
      <p:sp>
        <p:nvSpPr>
          <p:cNvPr id="4" name="Slide Number Placeholder 1"/>
          <p:cNvSpPr txBox="1">
            <a:spLocks/>
          </p:cNvSpPr>
          <p:nvPr/>
        </p:nvSpPr>
        <p:spPr>
          <a:xfrm>
            <a:off x="11051410" y="6356237"/>
            <a:ext cx="480800" cy="358601"/>
          </a:xfrm>
          <a:prstGeom prst="rect">
            <a:avLst/>
          </a:prstGeom>
        </p:spPr>
        <p:txBody>
          <a:bodyPr/>
          <a:lstStyle>
            <a:defPPr>
              <a:defRPr lang="en-US"/>
            </a:defPPr>
            <a:lvl1pPr algn="l" rtl="0" fontAlgn="base">
              <a:spcBef>
                <a:spcPct val="0"/>
              </a:spcBef>
              <a:spcAft>
                <a:spcPct val="0"/>
              </a:spcAft>
              <a:defRPr b="1" kern="1200">
                <a:solidFill>
                  <a:schemeClr val="tx1"/>
                </a:solidFill>
                <a:latin typeface="Arial" pitchFamily="34" charset="0"/>
                <a:ea typeface="+mn-ea"/>
                <a:cs typeface="Arial" pitchFamily="34" charset="0"/>
              </a:defRPr>
            </a:lvl1pPr>
            <a:lvl2pPr marL="462363" algn="l" rtl="0" fontAlgn="base">
              <a:spcBef>
                <a:spcPct val="0"/>
              </a:spcBef>
              <a:spcAft>
                <a:spcPct val="0"/>
              </a:spcAft>
              <a:defRPr b="1" kern="1200">
                <a:solidFill>
                  <a:schemeClr val="tx1"/>
                </a:solidFill>
                <a:latin typeface="Arial" pitchFamily="34" charset="0"/>
                <a:ea typeface="+mn-ea"/>
                <a:cs typeface="Arial" pitchFamily="34" charset="0"/>
              </a:defRPr>
            </a:lvl2pPr>
            <a:lvl3pPr marL="924726" algn="l" rtl="0" fontAlgn="base">
              <a:spcBef>
                <a:spcPct val="0"/>
              </a:spcBef>
              <a:spcAft>
                <a:spcPct val="0"/>
              </a:spcAft>
              <a:defRPr b="1" kern="1200">
                <a:solidFill>
                  <a:schemeClr val="tx1"/>
                </a:solidFill>
                <a:latin typeface="Arial" pitchFamily="34" charset="0"/>
                <a:ea typeface="+mn-ea"/>
                <a:cs typeface="Arial" pitchFamily="34" charset="0"/>
              </a:defRPr>
            </a:lvl3pPr>
            <a:lvl4pPr marL="1387090" algn="l" rtl="0" fontAlgn="base">
              <a:spcBef>
                <a:spcPct val="0"/>
              </a:spcBef>
              <a:spcAft>
                <a:spcPct val="0"/>
              </a:spcAft>
              <a:defRPr b="1" kern="1200">
                <a:solidFill>
                  <a:schemeClr val="tx1"/>
                </a:solidFill>
                <a:latin typeface="Arial" pitchFamily="34" charset="0"/>
                <a:ea typeface="+mn-ea"/>
                <a:cs typeface="Arial" pitchFamily="34" charset="0"/>
              </a:defRPr>
            </a:lvl4pPr>
            <a:lvl5pPr marL="1849453" algn="l" rtl="0" fontAlgn="base">
              <a:spcBef>
                <a:spcPct val="0"/>
              </a:spcBef>
              <a:spcAft>
                <a:spcPct val="0"/>
              </a:spcAft>
              <a:defRPr b="1" kern="1200">
                <a:solidFill>
                  <a:schemeClr val="tx1"/>
                </a:solidFill>
                <a:latin typeface="Arial" pitchFamily="34" charset="0"/>
                <a:ea typeface="+mn-ea"/>
                <a:cs typeface="Arial" pitchFamily="34" charset="0"/>
              </a:defRPr>
            </a:lvl5pPr>
            <a:lvl6pPr marL="2311816" algn="l" defTabSz="924726" rtl="0" eaLnBrk="1" latinLnBrk="0" hangingPunct="1">
              <a:defRPr b="1" kern="1200">
                <a:solidFill>
                  <a:schemeClr val="tx1"/>
                </a:solidFill>
                <a:latin typeface="Arial" pitchFamily="34" charset="0"/>
                <a:ea typeface="+mn-ea"/>
                <a:cs typeface="Arial" pitchFamily="34" charset="0"/>
              </a:defRPr>
            </a:lvl6pPr>
            <a:lvl7pPr marL="2774179" algn="l" defTabSz="924726" rtl="0" eaLnBrk="1" latinLnBrk="0" hangingPunct="1">
              <a:defRPr b="1" kern="1200">
                <a:solidFill>
                  <a:schemeClr val="tx1"/>
                </a:solidFill>
                <a:latin typeface="Arial" pitchFamily="34" charset="0"/>
                <a:ea typeface="+mn-ea"/>
                <a:cs typeface="Arial" pitchFamily="34" charset="0"/>
              </a:defRPr>
            </a:lvl7pPr>
            <a:lvl8pPr marL="3236544" algn="l" defTabSz="924726" rtl="0" eaLnBrk="1" latinLnBrk="0" hangingPunct="1">
              <a:defRPr b="1" kern="1200">
                <a:solidFill>
                  <a:schemeClr val="tx1"/>
                </a:solidFill>
                <a:latin typeface="Arial" pitchFamily="34" charset="0"/>
                <a:ea typeface="+mn-ea"/>
                <a:cs typeface="Arial" pitchFamily="34" charset="0"/>
              </a:defRPr>
            </a:lvl8pPr>
            <a:lvl9pPr marL="3698907" algn="l" defTabSz="924726" rtl="0" eaLnBrk="1" latinLnBrk="0" hangingPunct="1">
              <a:defRPr b="1" kern="1200">
                <a:solidFill>
                  <a:schemeClr val="tx1"/>
                </a:solidFill>
                <a:latin typeface="Arial" pitchFamily="34" charset="0"/>
                <a:ea typeface="+mn-ea"/>
                <a:cs typeface="Arial" pitchFamily="34" charset="0"/>
              </a:defRPr>
            </a:lvl9pPr>
          </a:lstStyle>
          <a:p>
            <a:pPr algn="r"/>
            <a:r>
              <a:rPr lang="en-US" sz="1286" dirty="0">
                <a:solidFill>
                  <a:schemeClr val="bg1"/>
                </a:solidFill>
              </a:rPr>
              <a:t>9</a:t>
            </a:r>
            <a:endParaRPr lang="en-US" sz="857" dirty="0">
              <a:solidFill>
                <a:schemeClr val="accent5">
                  <a:lumMod val="50000"/>
                </a:schemeClr>
              </a:solidFill>
            </a:endParaRPr>
          </a:p>
        </p:txBody>
      </p:sp>
    </p:spTree>
    <p:extLst>
      <p:ext uri="{BB962C8B-B14F-4D97-AF65-F5344CB8AC3E}">
        <p14:creationId xmlns:p14="http://schemas.microsoft.com/office/powerpoint/2010/main" val="9196981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itle 15"/>
          <p:cNvSpPr>
            <a:spLocks noGrp="1"/>
          </p:cNvSpPr>
          <p:nvPr>
            <p:ph type="title"/>
          </p:nvPr>
        </p:nvSpPr>
        <p:spPr>
          <a:xfrm>
            <a:off x="1368964" y="284631"/>
            <a:ext cx="9372829" cy="752141"/>
          </a:xfrm>
          <a:noFill/>
          <a:ln>
            <a:noFill/>
          </a:ln>
        </p:spPr>
        <p:txBody>
          <a:bodyPr vert="horz" wrap="square" lIns="87332" tIns="43666" rIns="87332" bIns="43666" numCol="1" rtlCol="0" anchor="t" anchorCtr="0" compatLnSpc="1">
            <a:prstTxWarp prst="textNoShape">
              <a:avLst/>
            </a:prstTxWarp>
            <a:noAutofit/>
          </a:bodyPr>
          <a:lstStyle/>
          <a:p>
            <a:pPr algn="ctr"/>
            <a:r>
              <a:rPr lang="en-US" sz="3000" b="1" dirty="0">
                <a:solidFill>
                  <a:srgbClr val="4A72A8"/>
                </a:solidFill>
                <a:ea typeface="Open Sans Condensed" panose="020B0806030504020204" pitchFamily="34" charset="0"/>
                <a:cs typeface="Open Sans Condensed" panose="020B0806030504020204" pitchFamily="34" charset="0"/>
              </a:rPr>
              <a:t>Organizational Health</a:t>
            </a:r>
            <a:br>
              <a:rPr lang="en-US" sz="3000" b="1" dirty="0">
                <a:solidFill>
                  <a:srgbClr val="4A72A8"/>
                </a:solidFill>
                <a:ea typeface="Open Sans Condensed" panose="020B0806030504020204" pitchFamily="34" charset="0"/>
                <a:cs typeface="Open Sans Condensed" panose="020B0806030504020204" pitchFamily="34" charset="0"/>
              </a:rPr>
            </a:br>
            <a:r>
              <a:rPr lang="en-US" sz="3000" b="1" dirty="0">
                <a:solidFill>
                  <a:srgbClr val="4A72A8"/>
                </a:solidFill>
                <a:ea typeface="Open Sans Condensed" panose="020B0806030504020204" pitchFamily="34" charset="0"/>
                <a:cs typeface="Open Sans Condensed" panose="020B0806030504020204" pitchFamily="34" charset="0"/>
              </a:rPr>
              <a:t>In Summary</a:t>
            </a:r>
            <a:endParaRPr lang="en-US" sz="3000" b="1" dirty="0">
              <a:solidFill>
                <a:srgbClr val="4A72A8"/>
              </a:solidFill>
            </a:endParaRPr>
          </a:p>
        </p:txBody>
      </p:sp>
      <p:sp>
        <p:nvSpPr>
          <p:cNvPr id="14" name="Content Placeholder 2"/>
          <p:cNvSpPr>
            <a:spLocks noGrp="1"/>
          </p:cNvSpPr>
          <p:nvPr>
            <p:ph sz="half" idx="2"/>
          </p:nvPr>
        </p:nvSpPr>
        <p:spPr>
          <a:xfrm>
            <a:off x="1745036" y="2032477"/>
            <a:ext cx="7511143" cy="2204357"/>
          </a:xfrm>
          <a:prstGeom prst="rect">
            <a:avLst/>
          </a:prstGeom>
        </p:spPr>
        <p:txBody>
          <a:bodyPr>
            <a:normAutofit fontScale="77500" lnSpcReduction="20000"/>
          </a:bodyPr>
          <a:lstStyle/>
          <a:p>
            <a:pPr>
              <a:spcBef>
                <a:spcPct val="0"/>
              </a:spcBef>
              <a:spcAft>
                <a:spcPts val="1071"/>
              </a:spcAft>
              <a:buClr>
                <a:schemeClr val="tx1"/>
              </a:buClr>
              <a:defRPr/>
            </a:pPr>
            <a:r>
              <a:rPr lang="en-US" sz="3000" b="0" dirty="0"/>
              <a:t>The “health” of an organization is dictated by its values and it’s ability to maintain balance between them.</a:t>
            </a:r>
          </a:p>
          <a:p>
            <a:pPr>
              <a:spcBef>
                <a:spcPct val="0"/>
              </a:spcBef>
              <a:spcAft>
                <a:spcPts val="1071"/>
              </a:spcAft>
              <a:buClr>
                <a:schemeClr val="tx1"/>
              </a:buClr>
              <a:defRPr/>
            </a:pPr>
            <a:endParaRPr lang="en-US" sz="3000" b="0" dirty="0"/>
          </a:p>
          <a:p>
            <a:pPr>
              <a:spcBef>
                <a:spcPct val="0"/>
              </a:spcBef>
              <a:spcAft>
                <a:spcPts val="1071"/>
              </a:spcAft>
              <a:buClr>
                <a:schemeClr val="tx1"/>
              </a:buClr>
              <a:defRPr/>
            </a:pPr>
            <a:r>
              <a:rPr lang="en-US" sz="3000" b="0" dirty="0"/>
              <a:t>When values/imperatives are balanced in business decision-making - tremendous benefit will be gained.</a:t>
            </a:r>
          </a:p>
        </p:txBody>
      </p:sp>
    </p:spTree>
    <p:custDataLst>
      <p:tags r:id="rId1"/>
    </p:custDataLst>
    <p:extLst>
      <p:ext uri="{BB962C8B-B14F-4D97-AF65-F5344CB8AC3E}">
        <p14:creationId xmlns:p14="http://schemas.microsoft.com/office/powerpoint/2010/main" val="1900734771"/>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4AEAFB-4E8A-61FD-C0B4-34C9A292C254}"/>
              </a:ext>
            </a:extLst>
          </p:cNvPr>
          <p:cNvSpPr>
            <a:spLocks noGrp="1"/>
          </p:cNvSpPr>
          <p:nvPr>
            <p:ph type="title" idx="4294967295"/>
          </p:nvPr>
        </p:nvSpPr>
        <p:spPr>
          <a:xfrm>
            <a:off x="5545604" y="1550820"/>
            <a:ext cx="6246812" cy="2351321"/>
          </a:xfrm>
        </p:spPr>
        <p:txBody>
          <a:bodyPr vert="horz" lIns="91440" tIns="45720" rIns="91440" bIns="0" rtlCol="0" anchor="ctr">
            <a:normAutofit/>
          </a:bodyPr>
          <a:lstStyle/>
          <a:p>
            <a:r>
              <a:rPr lang="en-US" sz="3600" b="0" dirty="0">
                <a:solidFill>
                  <a:schemeClr val="tx1"/>
                </a:solidFill>
                <a:latin typeface="+mj-lt"/>
                <a:cs typeface="+mj-cs"/>
              </a:rPr>
              <a:t>Human and organizational performance (HOP) Principles</a:t>
            </a:r>
          </a:p>
        </p:txBody>
      </p:sp>
      <p:sp>
        <p:nvSpPr>
          <p:cNvPr id="9" name="TextBox 8">
            <a:extLst>
              <a:ext uri="{FF2B5EF4-FFF2-40B4-BE49-F238E27FC236}">
                <a16:creationId xmlns:a16="http://schemas.microsoft.com/office/drawing/2014/main" id="{06477819-B34E-6FDE-6FEF-DFF32B649EAF}"/>
              </a:ext>
            </a:extLst>
          </p:cNvPr>
          <p:cNvSpPr txBox="1"/>
          <p:nvPr/>
        </p:nvSpPr>
        <p:spPr>
          <a:xfrm>
            <a:off x="5560177" y="3902141"/>
            <a:ext cx="4793915" cy="707886"/>
          </a:xfrm>
          <a:prstGeom prst="rect">
            <a:avLst/>
          </a:prstGeom>
          <a:noFill/>
        </p:spPr>
        <p:txBody>
          <a:bodyPr wrap="square">
            <a:spAutoFit/>
          </a:bodyPr>
          <a:lstStyle/>
          <a:p>
            <a:r>
              <a:rPr lang="en-US" sz="2000" b="1" dirty="0"/>
              <a:t>Matthew J. Twerdy, SGE, CSP, CHMM</a:t>
            </a:r>
          </a:p>
          <a:p>
            <a:r>
              <a:rPr lang="en-US" sz="2000" b="1" dirty="0"/>
              <a:t>Dir, EH&amp;S, Collins Aerospace</a:t>
            </a:r>
          </a:p>
        </p:txBody>
      </p:sp>
      <p:pic>
        <p:nvPicPr>
          <p:cNvPr id="11" name="Picture 10">
            <a:extLst>
              <a:ext uri="{FF2B5EF4-FFF2-40B4-BE49-F238E27FC236}">
                <a16:creationId xmlns:a16="http://schemas.microsoft.com/office/drawing/2014/main" id="{7E0843BA-C95B-7758-A4FF-A1AB93DC8182}"/>
              </a:ext>
            </a:extLst>
          </p:cNvPr>
          <p:cNvPicPr>
            <a:picLocks noChangeAspect="1"/>
          </p:cNvPicPr>
          <p:nvPr/>
        </p:nvPicPr>
        <p:blipFill rotWithShape="1">
          <a:blip r:embed="rId2"/>
          <a:srcRect l="4102" r="5285"/>
          <a:stretch/>
        </p:blipFill>
        <p:spPr>
          <a:xfrm>
            <a:off x="1260618" y="2006612"/>
            <a:ext cx="3492811" cy="2351321"/>
          </a:xfrm>
          <a:prstGeom prst="rect">
            <a:avLst/>
          </a:prstGeom>
        </p:spPr>
      </p:pic>
      <p:cxnSp>
        <p:nvCxnSpPr>
          <p:cNvPr id="12" name="Straight Connector 11">
            <a:extLst>
              <a:ext uri="{FF2B5EF4-FFF2-40B4-BE49-F238E27FC236}">
                <a16:creationId xmlns:a16="http://schemas.microsoft.com/office/drawing/2014/main" id="{2CE1155A-5167-2016-28A5-93CA02E9772A}"/>
              </a:ext>
            </a:extLst>
          </p:cNvPr>
          <p:cNvCxnSpPr>
            <a:cxnSpLocks/>
          </p:cNvCxnSpPr>
          <p:nvPr/>
        </p:nvCxnSpPr>
        <p:spPr>
          <a:xfrm>
            <a:off x="5149516" y="1251289"/>
            <a:ext cx="0" cy="3573379"/>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21605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B9A174C-2BF3-4C39-A295-0C881693A6BD}"/>
              </a:ext>
            </a:extLst>
          </p:cNvPr>
          <p:cNvSpPr>
            <a:spLocks noGrp="1"/>
          </p:cNvSpPr>
          <p:nvPr>
            <p:ph type="body" sz="quarter" idx="13"/>
          </p:nvPr>
        </p:nvSpPr>
        <p:spPr>
          <a:xfrm>
            <a:off x="520336" y="1848586"/>
            <a:ext cx="5410201" cy="4335125"/>
          </a:xfrm>
        </p:spPr>
        <p:txBody>
          <a:bodyPr/>
          <a:lstStyle/>
          <a:p>
            <a:pPr marL="0" marR="0" lvl="0" indent="0" algn="ctr">
              <a:lnSpc>
                <a:spcPct val="107000"/>
              </a:lnSpc>
              <a:spcBef>
                <a:spcPts val="0"/>
              </a:spcBef>
              <a:spcAft>
                <a:spcPts val="0"/>
              </a:spcAft>
              <a:buNone/>
            </a:pPr>
            <a:r>
              <a:rPr lang="en-US" sz="2400" dirty="0">
                <a:effectLst/>
              </a:rPr>
              <a:t>Traditional Safety</a:t>
            </a:r>
          </a:p>
          <a:p>
            <a:pPr marL="0" marR="0" lvl="0" indent="0" algn="ctr">
              <a:lnSpc>
                <a:spcPct val="107000"/>
              </a:lnSpc>
              <a:spcBef>
                <a:spcPts val="0"/>
              </a:spcBef>
              <a:spcAft>
                <a:spcPts val="0"/>
              </a:spcAft>
              <a:buNone/>
            </a:pPr>
            <a:endParaRPr lang="en-US" sz="2400" dirty="0">
              <a:effectLst/>
            </a:endParaRPr>
          </a:p>
          <a:p>
            <a:pPr marL="342900" marR="0" lvl="0" indent="-342900">
              <a:lnSpc>
                <a:spcPct val="107000"/>
              </a:lnSpc>
              <a:spcBef>
                <a:spcPts val="0"/>
              </a:spcBef>
              <a:spcAft>
                <a:spcPts val="0"/>
              </a:spcAft>
              <a:buFont typeface="+mj-lt"/>
              <a:buAutoNum type="arabicPeriod"/>
            </a:pPr>
            <a:r>
              <a:rPr lang="en-US" sz="2400" b="0" dirty="0">
                <a:effectLst/>
              </a:rPr>
              <a:t>Workers are the problem to be fixed. We improve safety by making the workers better.</a:t>
            </a:r>
            <a:endParaRPr lang="en-US" sz="2000" b="0" dirty="0">
              <a:effectLst/>
            </a:endParaRPr>
          </a:p>
          <a:p>
            <a:pPr marL="342900" marR="0" lvl="0" indent="-342900">
              <a:lnSpc>
                <a:spcPct val="107000"/>
              </a:lnSpc>
              <a:spcBef>
                <a:spcPts val="0"/>
              </a:spcBef>
              <a:spcAft>
                <a:spcPts val="0"/>
              </a:spcAft>
              <a:buFont typeface="+mj-lt"/>
              <a:buAutoNum type="arabicPeriod"/>
            </a:pPr>
            <a:r>
              <a:rPr lang="en-US" sz="2400" b="0" dirty="0">
                <a:effectLst/>
              </a:rPr>
              <a:t>We must tell workers what to do and, perhaps more important, what not to do.</a:t>
            </a:r>
            <a:endParaRPr lang="en-US" sz="2000" b="0" dirty="0">
              <a:effectLst/>
            </a:endParaRPr>
          </a:p>
          <a:p>
            <a:pPr marL="342900" marR="0" lvl="0" indent="-342900">
              <a:lnSpc>
                <a:spcPct val="107000"/>
              </a:lnSpc>
              <a:spcBef>
                <a:spcPts val="0"/>
              </a:spcBef>
              <a:spcAft>
                <a:spcPts val="0"/>
              </a:spcAft>
              <a:buFont typeface="+mj-lt"/>
              <a:buAutoNum type="arabicPeriod"/>
            </a:pPr>
            <a:r>
              <a:rPr lang="en-US" sz="2400" b="0" dirty="0">
                <a:effectLst/>
              </a:rPr>
              <a:t>Safety is the absence of accidents</a:t>
            </a:r>
            <a:endParaRPr lang="en-US" sz="2000" b="0" dirty="0">
              <a:effectLst/>
            </a:endParaRPr>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Defining safety</a:t>
            </a:r>
          </a:p>
        </p:txBody>
      </p:sp>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5"/>
          </p:nvPr>
        </p:nvSpPr>
        <p:spPr>
          <a:xfrm>
            <a:off x="694944" y="1106964"/>
            <a:ext cx="10820400" cy="341632"/>
          </a:xfrm>
        </p:spPr>
        <p:txBody>
          <a:bodyPr/>
          <a:lstStyle/>
          <a:p>
            <a:r>
              <a:rPr lang="en-US" dirty="0"/>
              <a:t>Safety is not the absence of accidents, but the presence of capacity. – Tod Conklin</a:t>
            </a:r>
          </a:p>
        </p:txBody>
      </p:sp>
      <p:sp>
        <p:nvSpPr>
          <p:cNvPr id="8" name="Text Placeholder 6">
            <a:extLst>
              <a:ext uri="{FF2B5EF4-FFF2-40B4-BE49-F238E27FC236}">
                <a16:creationId xmlns:a16="http://schemas.microsoft.com/office/drawing/2014/main" id="{B345FD1E-A427-456A-9A99-EFB31F51D05D}"/>
              </a:ext>
            </a:extLst>
          </p:cNvPr>
          <p:cNvSpPr txBox="1">
            <a:spLocks/>
          </p:cNvSpPr>
          <p:nvPr/>
        </p:nvSpPr>
        <p:spPr>
          <a:xfrm>
            <a:off x="6485707" y="1848585"/>
            <a:ext cx="5410201" cy="4335125"/>
          </a:xfrm>
          <a:prstGeom prst="rect">
            <a:avLst/>
          </a:prstGeom>
          <a:noFill/>
        </p:spPr>
        <p:txBody>
          <a:bodyPr vert="horz" lIns="0" tIns="0" rIns="0" bIns="0" rtlCol="0">
            <a:noAutofit/>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b="1" kern="1200" baseline="0" dirty="0" smtClean="0">
                <a:solidFill>
                  <a:schemeClr val="tx1"/>
                </a:solidFill>
                <a:latin typeface="+mn-lt"/>
                <a:ea typeface="+mn-ea"/>
                <a:cs typeface="+mn-cs"/>
              </a:defRPr>
            </a:lvl1pPr>
            <a:lvl2pPr marL="365760"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2000" b="1" kern="1200" baseline="0" dirty="0" smtClean="0">
                <a:solidFill>
                  <a:schemeClr val="tx1"/>
                </a:solidFill>
                <a:latin typeface="+mn-lt"/>
                <a:ea typeface="+mn-ea"/>
                <a:cs typeface="+mn-cs"/>
              </a:defRPr>
            </a:lvl2pPr>
            <a:lvl3pPr marL="548640" indent="-219456" algn="l" defTabSz="914400" rtl="0" eaLnBrk="1" latinLnBrk="0" hangingPunct="1">
              <a:lnSpc>
                <a:spcPct val="100000"/>
              </a:lnSpc>
              <a:spcBef>
                <a:spcPts val="0"/>
              </a:spcBef>
              <a:spcAft>
                <a:spcPts val="600"/>
              </a:spcAft>
              <a:buSzPct val="115000"/>
              <a:buFont typeface="Arial" panose="020B0604020202020204" pitchFamily="34" charset="0"/>
              <a:buChar char="•"/>
              <a:defRPr lang="en-US" sz="1800" b="1" kern="1200" baseline="0" dirty="0" smtClean="0">
                <a:solidFill>
                  <a:schemeClr val="tx1"/>
                </a:solidFill>
                <a:latin typeface="+mn-lt"/>
                <a:ea typeface="+mn-ea"/>
                <a:cs typeface="+mn-cs"/>
              </a:defRPr>
            </a:lvl3pPr>
            <a:lvl4pPr marL="731520"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600" b="1" kern="1200" baseline="0" dirty="0" smtClean="0">
                <a:solidFill>
                  <a:schemeClr val="tx1"/>
                </a:solidFill>
                <a:latin typeface="+mn-lt"/>
                <a:ea typeface="+mn-ea"/>
                <a:cs typeface="+mn-cs"/>
              </a:defRPr>
            </a:lvl4pPr>
            <a:lvl5pPr marL="914400" indent="-219456" algn="l" defTabSz="914400" rtl="0" eaLnBrk="1" latinLnBrk="0" hangingPunct="1">
              <a:lnSpc>
                <a:spcPct val="100000"/>
              </a:lnSpc>
              <a:spcBef>
                <a:spcPts val="0"/>
              </a:spcBef>
              <a:spcAft>
                <a:spcPts val="600"/>
              </a:spcAft>
              <a:buSzPct val="115000"/>
              <a:buFont typeface="Arial" panose="020B0604020202020204" pitchFamily="34" charset="0"/>
              <a:buChar char="•"/>
              <a:defRPr lang="en-US" sz="1600" b="1"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a:lnSpc>
                <a:spcPct val="107000"/>
              </a:lnSpc>
              <a:spcBef>
                <a:spcPts val="0"/>
              </a:spcBef>
              <a:spcAft>
                <a:spcPts val="0"/>
              </a:spcAft>
              <a:buNone/>
            </a:pPr>
            <a:r>
              <a:rPr lang="en-US" sz="2400" dirty="0">
                <a:effectLst/>
              </a:rPr>
              <a:t>Expanding our view of Safety</a:t>
            </a:r>
          </a:p>
          <a:p>
            <a:pPr marL="0" marR="0" lvl="0" indent="0" algn="ctr">
              <a:lnSpc>
                <a:spcPct val="107000"/>
              </a:lnSpc>
              <a:spcBef>
                <a:spcPts val="0"/>
              </a:spcBef>
              <a:spcAft>
                <a:spcPts val="0"/>
              </a:spcAft>
              <a:buNone/>
            </a:pPr>
            <a:endParaRPr lang="en-US" sz="2400" dirty="0">
              <a:effectLst/>
            </a:endParaRPr>
          </a:p>
          <a:p>
            <a:pPr marL="342900" marR="0" lvl="0" indent="-342900">
              <a:lnSpc>
                <a:spcPct val="107000"/>
              </a:lnSpc>
              <a:spcBef>
                <a:spcPts val="0"/>
              </a:spcBef>
              <a:spcAft>
                <a:spcPts val="0"/>
              </a:spcAft>
              <a:buFont typeface="+mj-lt"/>
              <a:buAutoNum type="arabicPeriod"/>
            </a:pPr>
            <a:r>
              <a:rPr lang="en-US" sz="2400" b="0" dirty="0">
                <a:effectLst/>
              </a:rPr>
              <a:t>Workers are not the problem, they are the </a:t>
            </a:r>
            <a:r>
              <a:rPr lang="en-US" sz="2400" dirty="0">
                <a:effectLst/>
              </a:rPr>
              <a:t>problem solvers</a:t>
            </a:r>
            <a:endParaRPr lang="en-US" sz="2000" dirty="0">
              <a:effectLst/>
            </a:endParaRPr>
          </a:p>
          <a:p>
            <a:pPr marL="342900" marR="0" lvl="0" indent="-342900">
              <a:lnSpc>
                <a:spcPct val="107000"/>
              </a:lnSpc>
              <a:spcBef>
                <a:spcPts val="0"/>
              </a:spcBef>
              <a:spcAft>
                <a:spcPts val="0"/>
              </a:spcAft>
              <a:buFont typeface="+mj-lt"/>
              <a:buAutoNum type="arabicPeriod"/>
            </a:pPr>
            <a:r>
              <a:rPr lang="en-US" sz="2400" b="0" dirty="0">
                <a:effectLst/>
              </a:rPr>
              <a:t>We don’t tell our organizations what to do, we should </a:t>
            </a:r>
            <a:r>
              <a:rPr lang="en-US" sz="2400" dirty="0">
                <a:effectLst/>
              </a:rPr>
              <a:t>ask them what they need</a:t>
            </a:r>
            <a:endParaRPr lang="en-US" sz="2000" dirty="0">
              <a:effectLst/>
            </a:endParaRPr>
          </a:p>
          <a:p>
            <a:pPr marL="342900" marR="0" lvl="0" indent="-342900">
              <a:lnSpc>
                <a:spcPct val="107000"/>
              </a:lnSpc>
              <a:spcBef>
                <a:spcPts val="0"/>
              </a:spcBef>
              <a:spcAft>
                <a:spcPts val="0"/>
              </a:spcAft>
              <a:buFont typeface="+mj-lt"/>
              <a:buAutoNum type="arabicPeriod"/>
            </a:pPr>
            <a:r>
              <a:rPr lang="en-US" sz="2400" b="0" dirty="0">
                <a:effectLst/>
              </a:rPr>
              <a:t>Safety is not the absence of accidents, it is the </a:t>
            </a:r>
            <a:r>
              <a:rPr lang="en-US" sz="2400" dirty="0">
                <a:effectLst/>
              </a:rPr>
              <a:t>presence of capacity</a:t>
            </a:r>
            <a:endParaRPr lang="en-US" sz="2000" dirty="0">
              <a:effectLst/>
            </a:endParaRPr>
          </a:p>
        </p:txBody>
      </p:sp>
      <p:sp>
        <p:nvSpPr>
          <p:cNvPr id="10" name="Arrow: Right 9">
            <a:extLst>
              <a:ext uri="{FF2B5EF4-FFF2-40B4-BE49-F238E27FC236}">
                <a16:creationId xmlns:a16="http://schemas.microsoft.com/office/drawing/2014/main" id="{2FD00A16-9E14-4B12-490B-FA7ECBF9E4E9}"/>
              </a:ext>
            </a:extLst>
          </p:cNvPr>
          <p:cNvSpPr/>
          <p:nvPr/>
        </p:nvSpPr>
        <p:spPr>
          <a:xfrm>
            <a:off x="5441333" y="1846449"/>
            <a:ext cx="978408" cy="4846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 Placeholder 3">
            <a:extLst>
              <a:ext uri="{FF2B5EF4-FFF2-40B4-BE49-F238E27FC236}">
                <a16:creationId xmlns:a16="http://schemas.microsoft.com/office/drawing/2014/main" id="{4844CDE8-C4CC-9AF3-1005-A7D13892231C}"/>
              </a:ext>
            </a:extLst>
          </p:cNvPr>
          <p:cNvSpPr txBox="1">
            <a:spLocks/>
          </p:cNvSpPr>
          <p:nvPr/>
        </p:nvSpPr>
        <p:spPr>
          <a:xfrm>
            <a:off x="694944" y="5917569"/>
            <a:ext cx="10820399" cy="268279"/>
          </a:xfrm>
          <a:prstGeom prst="rect">
            <a:avLst/>
          </a:prstGeom>
          <a:solidFill>
            <a:srgbClr val="63666A"/>
          </a:solidFill>
        </p:spPr>
        <p:txBody>
          <a:bodyPr vert="horz" wrap="square" lIns="621792" tIns="64008" rIns="621792" bIns="36576" rtlCol="0" anchor="b" anchorCtr="0">
            <a:spAutoFit/>
          </a:bodyPr>
          <a:lstStyle>
            <a:lvl1pPr marL="0" indent="0" algn="ctr" defTabSz="0" rtl="0" eaLnBrk="1" latinLnBrk="0" hangingPunct="1">
              <a:lnSpc>
                <a:spcPts val="1300"/>
              </a:lnSpc>
              <a:spcBef>
                <a:spcPts val="0"/>
              </a:spcBef>
              <a:spcAft>
                <a:spcPts val="600"/>
              </a:spcAft>
              <a:buClr>
                <a:schemeClr val="tx2"/>
              </a:buClr>
              <a:buSzPct val="75000"/>
              <a:buFontTx/>
              <a:buNone/>
              <a:defRPr lang="en-US" sz="1600" b="1" kern="1200" baseline="0" dirty="0">
                <a:solidFill>
                  <a:schemeClr val="bg1"/>
                </a:solidFill>
                <a:latin typeface="Arial" panose="020B0604020202020204" pitchFamily="34" charset="0"/>
                <a:ea typeface="+mj-ea"/>
                <a:cs typeface="Arial" panose="020B0604020202020204" pitchFamily="34" charset="0"/>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0" rtl="0" eaLnBrk="1" fontAlgn="auto" latinLnBrk="0" hangingPunct="1">
              <a:lnSpc>
                <a:spcPts val="1300"/>
              </a:lnSpc>
              <a:spcBef>
                <a:spcPts val="0"/>
              </a:spcBef>
              <a:spcAft>
                <a:spcPts val="600"/>
              </a:spcAft>
              <a:buClr>
                <a:srgbClr val="CE1126"/>
              </a:buClr>
              <a:buSzPct val="75000"/>
              <a:buFontTx/>
              <a:buNone/>
              <a:tabLst/>
              <a:defRPr/>
            </a:pPr>
            <a:r>
              <a:rPr kumimoji="0" lang="en-US" sz="14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Shifting/Adapting Our Mindset</a:t>
            </a:r>
          </a:p>
        </p:txBody>
      </p:sp>
    </p:spTree>
    <p:extLst>
      <p:ext uri="{BB962C8B-B14F-4D97-AF65-F5344CB8AC3E}">
        <p14:creationId xmlns:p14="http://schemas.microsoft.com/office/powerpoint/2010/main" val="40117879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p:txBody>
          <a:bodyPr/>
          <a:lstStyle/>
          <a:p>
            <a:r>
              <a:rPr lang="en-US" sz="2800" dirty="0"/>
              <a:t>Work As Imagined (Prescribed) vs. Work As Done</a:t>
            </a:r>
          </a:p>
        </p:txBody>
      </p:sp>
      <p:sp>
        <p:nvSpPr>
          <p:cNvPr id="10" name="TextBox 9">
            <a:extLst>
              <a:ext uri="{FF2B5EF4-FFF2-40B4-BE49-F238E27FC236}">
                <a16:creationId xmlns:a16="http://schemas.microsoft.com/office/drawing/2014/main" id="{29B9A813-143D-E94D-7453-CF714AEEF47A}"/>
              </a:ext>
            </a:extLst>
          </p:cNvPr>
          <p:cNvSpPr txBox="1"/>
          <p:nvPr/>
        </p:nvSpPr>
        <p:spPr>
          <a:xfrm>
            <a:off x="8862242" y="1570497"/>
            <a:ext cx="2591097" cy="224676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n-ea"/>
                <a:cs typeface="+mn-cs"/>
              </a:rPr>
              <a:t>If we don’t learn about the conditions in which work is happening, we don’t change them, and we spend time fixing the wrong things.  We need to be learning when things go wrong – </a:t>
            </a:r>
            <a:r>
              <a:rPr kumimoji="0" lang="en-US" sz="1400" b="1" i="1" u="none" strike="noStrike" kern="1200" cap="none" spc="0" normalizeH="0" baseline="0" noProof="0" dirty="0">
                <a:ln>
                  <a:noFill/>
                </a:ln>
                <a:solidFill>
                  <a:srgbClr val="000000"/>
                </a:solidFill>
                <a:effectLst/>
                <a:uLnTx/>
                <a:uFillTx/>
                <a:latin typeface="Arial"/>
                <a:ea typeface="+mn-ea"/>
                <a:cs typeface="+mn-cs"/>
              </a:rPr>
              <a:t>but even more importantly, we need to learn from normal work and everyday processes</a:t>
            </a:r>
            <a:r>
              <a:rPr kumimoji="0" lang="en-US" sz="1400" b="0" i="1" u="none" strike="noStrike" kern="1200" cap="none" spc="0" normalizeH="0" baseline="0" noProof="0" dirty="0">
                <a:ln>
                  <a:noFill/>
                </a:ln>
                <a:solidFill>
                  <a:srgbClr val="000000"/>
                </a:solidFill>
                <a:effectLst/>
                <a:uLnTx/>
                <a:uFillTx/>
                <a:latin typeface="Arial"/>
                <a:ea typeface="+mn-ea"/>
                <a:cs typeface="+mn-cs"/>
              </a:rPr>
              <a:t>. </a:t>
            </a:r>
          </a:p>
        </p:txBody>
      </p:sp>
      <p:pic>
        <p:nvPicPr>
          <p:cNvPr id="11" name="Picture 10">
            <a:extLst>
              <a:ext uri="{FF2B5EF4-FFF2-40B4-BE49-F238E27FC236}">
                <a16:creationId xmlns:a16="http://schemas.microsoft.com/office/drawing/2014/main" id="{47C85C8E-4698-2799-1D68-E2FA37EE9474}"/>
              </a:ext>
            </a:extLst>
          </p:cNvPr>
          <p:cNvPicPr>
            <a:picLocks noChangeAspect="1"/>
          </p:cNvPicPr>
          <p:nvPr/>
        </p:nvPicPr>
        <p:blipFill>
          <a:blip r:embed="rId3"/>
          <a:stretch>
            <a:fillRect/>
          </a:stretch>
        </p:blipFill>
        <p:spPr>
          <a:xfrm>
            <a:off x="694944" y="1570497"/>
            <a:ext cx="7646069" cy="4325856"/>
          </a:xfrm>
          <a:prstGeom prst="rect">
            <a:avLst/>
          </a:prstGeom>
          <a:ln>
            <a:noFill/>
          </a:ln>
          <a:effectLst>
            <a:outerShdw blurRad="292100" dist="139700" dir="2700000" algn="tl" rotWithShape="0">
              <a:srgbClr val="333333">
                <a:alpha val="65000"/>
              </a:srgbClr>
            </a:outerShdw>
          </a:effectLst>
        </p:spPr>
      </p:pic>
      <p:sp>
        <p:nvSpPr>
          <p:cNvPr id="13" name="TextBox 12">
            <a:extLst>
              <a:ext uri="{FF2B5EF4-FFF2-40B4-BE49-F238E27FC236}">
                <a16:creationId xmlns:a16="http://schemas.microsoft.com/office/drawing/2014/main" id="{CB3D6CFE-1B97-4F34-607B-9D7A6FD87623}"/>
              </a:ext>
            </a:extLst>
          </p:cNvPr>
          <p:cNvSpPr txBox="1"/>
          <p:nvPr/>
        </p:nvSpPr>
        <p:spPr>
          <a:xfrm>
            <a:off x="8862241" y="4298621"/>
            <a:ext cx="2591097" cy="1600438"/>
          </a:xfrm>
          <a:prstGeom prst="rect">
            <a:avLst/>
          </a:prstGeom>
          <a:noFill/>
        </p:spPr>
        <p:txBody>
          <a:bodyPr wrap="square">
            <a:spAutoFit/>
          </a:bodyPr>
          <a:lstStyle>
            <a:defPPr>
              <a:defRPr lang="en-US"/>
            </a:defPPr>
            <a:lvl1pPr marR="0" lvl="0" indent="0" fontAlgn="auto">
              <a:lnSpc>
                <a:spcPct val="100000"/>
              </a:lnSpc>
              <a:spcBef>
                <a:spcPts val="0"/>
              </a:spcBef>
              <a:spcAft>
                <a:spcPts val="0"/>
              </a:spcAft>
              <a:buClrTx/>
              <a:buSzTx/>
              <a:buFontTx/>
              <a:buNone/>
              <a:tabLst/>
              <a:defRPr kumimoji="0" sz="1400" b="0" i="1" u="none" strike="noStrike" cap="none" spc="0" normalizeH="0" baseline="0">
                <a:ln>
                  <a:noFill/>
                </a:ln>
                <a:solidFill>
                  <a:srgbClr val="000000"/>
                </a:solidFill>
                <a:effectLst/>
                <a:uLnTx/>
                <a:uFillTx/>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n-ea"/>
                <a:cs typeface="+mn-cs"/>
              </a:rPr>
              <a:t>All systems are running from order to disarray through entropy – all systems move toward degradation, so we need to continually check and monitor our systems to </a:t>
            </a:r>
            <a:r>
              <a:rPr kumimoji="0" lang="en-US" sz="1400" b="1" i="1" u="none" strike="noStrike" kern="1200" cap="none" spc="0" normalizeH="0" baseline="0" noProof="0" dirty="0">
                <a:ln>
                  <a:noFill/>
                </a:ln>
                <a:solidFill>
                  <a:srgbClr val="000000"/>
                </a:solidFill>
                <a:effectLst/>
                <a:uLnTx/>
                <a:uFillTx/>
                <a:latin typeface="Arial"/>
                <a:ea typeface="+mn-ea"/>
                <a:cs typeface="+mn-cs"/>
              </a:rPr>
              <a:t>learn and improve</a:t>
            </a:r>
            <a:r>
              <a:rPr kumimoji="0" lang="en-US" sz="1400" b="0" i="1" u="none" strike="noStrike" kern="1200" cap="none" spc="0" normalizeH="0" baseline="0" noProof="0" dirty="0">
                <a:ln>
                  <a:noFill/>
                </a:ln>
                <a:solidFill>
                  <a:srgbClr val="000000"/>
                </a:solidFill>
                <a:effectLst/>
                <a:uLnTx/>
                <a:uFillTx/>
                <a:latin typeface="Arial"/>
                <a:ea typeface="+mn-ea"/>
                <a:cs typeface="+mn-cs"/>
              </a:rPr>
              <a:t>.</a:t>
            </a:r>
          </a:p>
        </p:txBody>
      </p:sp>
    </p:spTree>
    <p:extLst>
      <p:ext uri="{BB962C8B-B14F-4D97-AF65-F5344CB8AC3E}">
        <p14:creationId xmlns:p14="http://schemas.microsoft.com/office/powerpoint/2010/main" val="26376189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Arrow Connector 20">
            <a:extLst>
              <a:ext uri="{FF2B5EF4-FFF2-40B4-BE49-F238E27FC236}">
                <a16:creationId xmlns:a16="http://schemas.microsoft.com/office/drawing/2014/main" id="{51EBE4C5-87AD-4DEE-A3AF-BAB2D4C757FD}"/>
              </a:ext>
            </a:extLst>
          </p:cNvPr>
          <p:cNvCxnSpPr>
            <a:cxnSpLocks/>
          </p:cNvCxnSpPr>
          <p:nvPr/>
        </p:nvCxnSpPr>
        <p:spPr>
          <a:xfrm>
            <a:off x="5407721" y="3543701"/>
            <a:ext cx="0" cy="2069707"/>
          </a:xfrm>
          <a:prstGeom prst="straightConnector1">
            <a:avLst/>
          </a:prstGeom>
          <a:ln w="254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04B95979-B4A1-4A18-AD5B-CC06B6CF95F2}"/>
              </a:ext>
            </a:extLst>
          </p:cNvPr>
          <p:cNvSpPr txBox="1"/>
          <p:nvPr/>
        </p:nvSpPr>
        <p:spPr>
          <a:xfrm>
            <a:off x="4722901" y="3907423"/>
            <a:ext cx="2241583" cy="1323055"/>
          </a:xfrm>
          <a:prstGeom prst="rect">
            <a:avLst/>
          </a:prstGeom>
          <a:solidFill>
            <a:schemeClr val="bg1"/>
          </a:solidFill>
        </p:spPr>
        <p:txBody>
          <a:bodyPr wrap="square" rtlCol="0">
            <a:spAutoFit/>
          </a:bodyPr>
          <a:lstStyle/>
          <a:p>
            <a:pPr defTabSz="1219170">
              <a:defRPr/>
            </a:pPr>
            <a:r>
              <a:rPr lang="en-US" sz="1200" dirty="0">
                <a:solidFill>
                  <a:srgbClr val="FF0000"/>
                </a:solidFill>
                <a:latin typeface="Arial"/>
              </a:rPr>
              <a:t>Human Operational Performance Focus</a:t>
            </a:r>
          </a:p>
          <a:p>
            <a:pPr marL="228594" indent="-228594" defTabSz="1219170">
              <a:buFont typeface="Arial" panose="020B0604020202020204" pitchFamily="34" charset="0"/>
              <a:buChar char="•"/>
              <a:defRPr/>
            </a:pPr>
            <a:r>
              <a:rPr lang="en-US" sz="933" b="1" dirty="0">
                <a:solidFill>
                  <a:srgbClr val="FF0000"/>
                </a:solidFill>
                <a:latin typeface="Arial"/>
              </a:rPr>
              <a:t>Learning…</a:t>
            </a:r>
          </a:p>
          <a:p>
            <a:pPr marL="228594" indent="-228594" defTabSz="1219170">
              <a:buFont typeface="Arial" panose="020B0604020202020204" pitchFamily="34" charset="0"/>
              <a:buChar char="•"/>
              <a:defRPr/>
            </a:pPr>
            <a:r>
              <a:rPr lang="en-US" sz="933" dirty="0">
                <a:solidFill>
                  <a:srgbClr val="FF0000"/>
                </a:solidFill>
                <a:latin typeface="Arial"/>
              </a:rPr>
              <a:t>Why was deviation needed?</a:t>
            </a:r>
          </a:p>
          <a:p>
            <a:pPr marL="228594" indent="-228594" defTabSz="1219170">
              <a:buFont typeface="Arial" panose="020B0604020202020204" pitchFamily="34" charset="0"/>
              <a:buChar char="•"/>
              <a:defRPr/>
            </a:pPr>
            <a:r>
              <a:rPr lang="en-US" sz="933" dirty="0">
                <a:solidFill>
                  <a:srgbClr val="FF0000"/>
                </a:solidFill>
                <a:latin typeface="Arial"/>
              </a:rPr>
              <a:t>What problems or obstacles existed?</a:t>
            </a:r>
          </a:p>
          <a:p>
            <a:pPr marL="228594" indent="-228594" defTabSz="1219170">
              <a:buFont typeface="Arial" panose="020B0604020202020204" pitchFamily="34" charset="0"/>
              <a:buChar char="•"/>
              <a:defRPr/>
            </a:pPr>
            <a:r>
              <a:rPr lang="en-US" sz="933" dirty="0">
                <a:solidFill>
                  <a:srgbClr val="FF0000"/>
                </a:solidFill>
                <a:latin typeface="Arial"/>
              </a:rPr>
              <a:t>How can we fix the system to support better decisions?</a:t>
            </a:r>
          </a:p>
        </p:txBody>
      </p:sp>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3"/>
          </p:nvPr>
        </p:nvSpPr>
        <p:spPr>
          <a:xfrm>
            <a:off x="651059" y="978992"/>
            <a:ext cx="10820400" cy="341632"/>
          </a:xfrm>
        </p:spPr>
        <p:txBody>
          <a:bodyPr>
            <a:normAutofit/>
          </a:bodyPr>
          <a:lstStyle/>
          <a:p>
            <a:pPr marL="0" indent="0">
              <a:buNone/>
            </a:pPr>
            <a:r>
              <a:rPr lang="en-US" dirty="0"/>
              <a:t>How work tasks are really completed</a:t>
            </a:r>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574784" y="409069"/>
            <a:ext cx="10811256" cy="676653"/>
          </a:xfrm>
        </p:spPr>
        <p:txBody>
          <a:bodyPr>
            <a:normAutofit fontScale="90000"/>
          </a:bodyPr>
          <a:lstStyle/>
          <a:p>
            <a:r>
              <a:rPr lang="en-US" b="1" spc="400" dirty="0">
                <a:solidFill>
                  <a:srgbClr val="000000"/>
                </a:solidFill>
              </a:rPr>
              <a:t>Work as IMAGINED vs work as DONE</a:t>
            </a:r>
            <a:endParaRPr lang="en-US" b="1" dirty="0"/>
          </a:p>
        </p:txBody>
      </p:sp>
      <p:grpSp>
        <p:nvGrpSpPr>
          <p:cNvPr id="8" name="Group 7">
            <a:extLst>
              <a:ext uri="{FF2B5EF4-FFF2-40B4-BE49-F238E27FC236}">
                <a16:creationId xmlns:a16="http://schemas.microsoft.com/office/drawing/2014/main" id="{D0A920CD-8619-4517-965D-C60E2B69F54D}"/>
              </a:ext>
            </a:extLst>
          </p:cNvPr>
          <p:cNvGrpSpPr/>
          <p:nvPr/>
        </p:nvGrpSpPr>
        <p:grpSpPr>
          <a:xfrm>
            <a:off x="574784" y="1595964"/>
            <a:ext cx="10896675" cy="4634416"/>
            <a:chOff x="431088" y="1034542"/>
            <a:chExt cx="8172506" cy="3475812"/>
          </a:xfrm>
        </p:grpSpPr>
        <p:sp>
          <p:nvSpPr>
            <p:cNvPr id="7" name="TextBox 6">
              <a:extLst>
                <a:ext uri="{FF2B5EF4-FFF2-40B4-BE49-F238E27FC236}">
                  <a16:creationId xmlns:a16="http://schemas.microsoft.com/office/drawing/2014/main" id="{E771E6F8-D316-48F2-87BB-8D9F1AEE8DD2}"/>
                </a:ext>
              </a:extLst>
            </p:cNvPr>
            <p:cNvSpPr txBox="1"/>
            <p:nvPr/>
          </p:nvSpPr>
          <p:spPr>
            <a:xfrm>
              <a:off x="431088" y="1034542"/>
              <a:ext cx="7492482" cy="438581"/>
            </a:xfrm>
            <a:prstGeom prst="rect">
              <a:avLst/>
            </a:prstGeom>
            <a:noFill/>
          </p:spPr>
          <p:txBody>
            <a:bodyPr wrap="square" rtlCol="0">
              <a:spAutoFit/>
            </a:bodyPr>
            <a:lstStyle/>
            <a:p>
              <a:pPr defTabSz="1219170">
                <a:defRPr/>
              </a:pPr>
              <a:r>
                <a:rPr lang="en-US" sz="1600" b="1" kern="0" dirty="0">
                  <a:solidFill>
                    <a:prstClr val="black"/>
                  </a:solidFill>
                  <a:latin typeface="Arial"/>
                </a:rPr>
                <a:t>BLACK LINE – Work-as-planned (Policy/Procedure/Standard Work)</a:t>
              </a:r>
            </a:p>
            <a:p>
              <a:pPr defTabSz="1219170">
                <a:defRPr/>
              </a:pPr>
              <a:r>
                <a:rPr lang="en-US" sz="1600" b="1" kern="0" dirty="0">
                  <a:solidFill>
                    <a:srgbClr val="3399FF"/>
                  </a:solidFill>
                  <a:latin typeface="Arial"/>
                </a:rPr>
                <a:t>BLUE LINE – Work-as-done (Reality of how it is performed)</a:t>
              </a:r>
            </a:p>
          </p:txBody>
        </p:sp>
        <p:pic>
          <p:nvPicPr>
            <p:cNvPr id="6" name="Picture 5">
              <a:extLst>
                <a:ext uri="{FF2B5EF4-FFF2-40B4-BE49-F238E27FC236}">
                  <a16:creationId xmlns:a16="http://schemas.microsoft.com/office/drawing/2014/main" id="{FF3C32E3-EF5F-43FF-A160-146BFBCCC6FA}"/>
                </a:ext>
              </a:extLst>
            </p:cNvPr>
            <p:cNvPicPr>
              <a:picLocks noChangeAspect="1"/>
            </p:cNvPicPr>
            <p:nvPr/>
          </p:nvPicPr>
          <p:blipFill>
            <a:blip r:embed="rId3"/>
            <a:stretch>
              <a:fillRect/>
            </a:stretch>
          </p:blipFill>
          <p:spPr>
            <a:xfrm>
              <a:off x="569172" y="1660887"/>
              <a:ext cx="7354395" cy="1707439"/>
            </a:xfrm>
            <a:prstGeom prst="rect">
              <a:avLst/>
            </a:prstGeom>
          </p:spPr>
        </p:pic>
        <p:sp>
          <p:nvSpPr>
            <p:cNvPr id="9" name="Freeform: Shape 8">
              <a:extLst>
                <a:ext uri="{FF2B5EF4-FFF2-40B4-BE49-F238E27FC236}">
                  <a16:creationId xmlns:a16="http://schemas.microsoft.com/office/drawing/2014/main" id="{C93D69B4-74F0-40F6-9D7A-2FC27244EB8F}"/>
                </a:ext>
              </a:extLst>
            </p:cNvPr>
            <p:cNvSpPr/>
            <p:nvPr/>
          </p:nvSpPr>
          <p:spPr>
            <a:xfrm>
              <a:off x="1052548" y="3262895"/>
              <a:ext cx="6808661" cy="1247459"/>
            </a:xfrm>
            <a:custGeom>
              <a:avLst/>
              <a:gdLst>
                <a:gd name="connsiteX0" fmla="*/ 0 w 8929395"/>
                <a:gd name="connsiteY0" fmla="*/ 1119674 h 1119674"/>
                <a:gd name="connsiteX1" fmla="*/ 1138334 w 8929395"/>
                <a:gd name="connsiteY1" fmla="*/ 951722 h 1119674"/>
                <a:gd name="connsiteX2" fmla="*/ 1950098 w 8929395"/>
                <a:gd name="connsiteY2" fmla="*/ 933061 h 1119674"/>
                <a:gd name="connsiteX3" fmla="*/ 3125755 w 8929395"/>
                <a:gd name="connsiteY3" fmla="*/ 681135 h 1119674"/>
                <a:gd name="connsiteX4" fmla="*/ 4581330 w 8929395"/>
                <a:gd name="connsiteY4" fmla="*/ 578498 h 1119674"/>
                <a:gd name="connsiteX5" fmla="*/ 6587412 w 8929395"/>
                <a:gd name="connsiteY5" fmla="*/ 373225 h 1119674"/>
                <a:gd name="connsiteX6" fmla="*/ 8929395 w 8929395"/>
                <a:gd name="connsiteY6" fmla="*/ 0 h 1119674"/>
                <a:gd name="connsiteX0" fmla="*/ 0 w 8980073"/>
                <a:gd name="connsiteY0" fmla="*/ 1285257 h 1285257"/>
                <a:gd name="connsiteX1" fmla="*/ 1138334 w 8980073"/>
                <a:gd name="connsiteY1" fmla="*/ 1117305 h 1285257"/>
                <a:gd name="connsiteX2" fmla="*/ 1950098 w 8980073"/>
                <a:gd name="connsiteY2" fmla="*/ 1098644 h 1285257"/>
                <a:gd name="connsiteX3" fmla="*/ 3125755 w 8980073"/>
                <a:gd name="connsiteY3" fmla="*/ 846718 h 1285257"/>
                <a:gd name="connsiteX4" fmla="*/ 4581330 w 8980073"/>
                <a:gd name="connsiteY4" fmla="*/ 744081 h 1285257"/>
                <a:gd name="connsiteX5" fmla="*/ 6587412 w 8980073"/>
                <a:gd name="connsiteY5" fmla="*/ 538808 h 1285257"/>
                <a:gd name="connsiteX6" fmla="*/ 8980073 w 8980073"/>
                <a:gd name="connsiteY6" fmla="*/ 0 h 128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80073" h="1285257">
                  <a:moveTo>
                    <a:pt x="0" y="1285257"/>
                  </a:moveTo>
                  <a:cubicBezTo>
                    <a:pt x="406659" y="1216832"/>
                    <a:pt x="813318" y="1148407"/>
                    <a:pt x="1138334" y="1117305"/>
                  </a:cubicBezTo>
                  <a:cubicBezTo>
                    <a:pt x="1463350" y="1086203"/>
                    <a:pt x="1618861" y="1143742"/>
                    <a:pt x="1950098" y="1098644"/>
                  </a:cubicBezTo>
                  <a:cubicBezTo>
                    <a:pt x="2281335" y="1053546"/>
                    <a:pt x="2687216" y="905812"/>
                    <a:pt x="3125755" y="846718"/>
                  </a:cubicBezTo>
                  <a:cubicBezTo>
                    <a:pt x="3564294" y="787624"/>
                    <a:pt x="4004387" y="795399"/>
                    <a:pt x="4581330" y="744081"/>
                  </a:cubicBezTo>
                  <a:cubicBezTo>
                    <a:pt x="5158273" y="692763"/>
                    <a:pt x="5862734" y="635224"/>
                    <a:pt x="6587412" y="538808"/>
                  </a:cubicBezTo>
                  <a:cubicBezTo>
                    <a:pt x="7312090" y="442392"/>
                    <a:pt x="8462224" y="129074"/>
                    <a:pt x="8980073" y="0"/>
                  </a:cubicBezTo>
                </a:path>
              </a:pathLst>
            </a:custGeom>
            <a:noFill/>
            <a:ln w="25400" cap="flat" cmpd="sng" algn="ctr">
              <a:solidFill>
                <a:srgbClr val="FF0000"/>
              </a:solidFill>
              <a:prstDash val="dashDot"/>
            </a:ln>
            <a:effectLst/>
          </p:spPr>
          <p:txBody>
            <a:bodyPr rtlCol="0" anchor="ctr"/>
            <a:lstStyle/>
            <a:p>
              <a:pPr algn="ctr" defTabSz="1219170">
                <a:defRPr/>
              </a:pPr>
              <a:endParaRPr lang="en-US" sz="2400" kern="0" dirty="0">
                <a:solidFill>
                  <a:prstClr val="white"/>
                </a:solidFill>
                <a:latin typeface="Arial"/>
              </a:endParaRPr>
            </a:p>
          </p:txBody>
        </p:sp>
        <p:cxnSp>
          <p:nvCxnSpPr>
            <p:cNvPr id="10" name="Straight Connector 9">
              <a:extLst>
                <a:ext uri="{FF2B5EF4-FFF2-40B4-BE49-F238E27FC236}">
                  <a16:creationId xmlns:a16="http://schemas.microsoft.com/office/drawing/2014/main" id="{16329D8C-C610-430C-ACD8-E3F14AD1714A}"/>
                </a:ext>
              </a:extLst>
            </p:cNvPr>
            <p:cNvCxnSpPr>
              <a:cxnSpLocks/>
              <a:stCxn id="9" idx="0"/>
            </p:cNvCxnSpPr>
            <p:nvPr/>
          </p:nvCxnSpPr>
          <p:spPr>
            <a:xfrm>
              <a:off x="1052548" y="4510354"/>
              <a:ext cx="6871019" cy="0"/>
            </a:xfrm>
            <a:prstGeom prst="line">
              <a:avLst/>
            </a:prstGeom>
            <a:ln w="19050">
              <a:solidFill>
                <a:srgbClr val="FF0000"/>
              </a:solidFill>
            </a:ln>
          </p:spPr>
          <p:style>
            <a:lnRef idx="1">
              <a:schemeClr val="accent2"/>
            </a:lnRef>
            <a:fillRef idx="0">
              <a:schemeClr val="accent2"/>
            </a:fillRef>
            <a:effectRef idx="0">
              <a:schemeClr val="accent2"/>
            </a:effectRef>
            <a:fontRef idx="minor">
              <a:schemeClr val="tx1"/>
            </a:fontRef>
          </p:style>
        </p:cxnSp>
        <p:cxnSp>
          <p:nvCxnSpPr>
            <p:cNvPr id="12" name="Straight Arrow Connector 11">
              <a:extLst>
                <a:ext uri="{FF2B5EF4-FFF2-40B4-BE49-F238E27FC236}">
                  <a16:creationId xmlns:a16="http://schemas.microsoft.com/office/drawing/2014/main" id="{39F45AA5-97F3-403B-BE84-63AF99BA37C4}"/>
                </a:ext>
              </a:extLst>
            </p:cNvPr>
            <p:cNvCxnSpPr>
              <a:cxnSpLocks/>
            </p:cNvCxnSpPr>
            <p:nvPr/>
          </p:nvCxnSpPr>
          <p:spPr>
            <a:xfrm>
              <a:off x="6796984" y="3609087"/>
              <a:ext cx="0" cy="877077"/>
            </a:xfrm>
            <a:prstGeom prst="straightConnector1">
              <a:avLst/>
            </a:prstGeom>
            <a:ln w="254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0DCC08EC-D1C5-4264-9DA6-873F8AAFC36E}"/>
                </a:ext>
              </a:extLst>
            </p:cNvPr>
            <p:cNvSpPr txBox="1"/>
            <p:nvPr/>
          </p:nvSpPr>
          <p:spPr>
            <a:xfrm>
              <a:off x="5793778" y="3959822"/>
              <a:ext cx="2006412" cy="223091"/>
            </a:xfrm>
            <a:prstGeom prst="rect">
              <a:avLst/>
            </a:prstGeom>
            <a:solidFill>
              <a:schemeClr val="bg1"/>
            </a:solidFill>
          </p:spPr>
          <p:txBody>
            <a:bodyPr wrap="square" rtlCol="0">
              <a:spAutoFit/>
            </a:bodyPr>
            <a:lstStyle/>
            <a:p>
              <a:pPr algn="ctr" defTabSz="1219170">
                <a:defRPr/>
              </a:pPr>
              <a:r>
                <a:rPr lang="en-US" sz="1333" dirty="0">
                  <a:solidFill>
                    <a:srgbClr val="FF0000"/>
                  </a:solidFill>
                  <a:latin typeface="Arial"/>
                </a:rPr>
                <a:t>Operational Risk Accumulation</a:t>
              </a:r>
            </a:p>
          </p:txBody>
        </p:sp>
        <p:sp>
          <p:nvSpPr>
            <p:cNvPr id="19" name="TextBox 18">
              <a:extLst>
                <a:ext uri="{FF2B5EF4-FFF2-40B4-BE49-F238E27FC236}">
                  <a16:creationId xmlns:a16="http://schemas.microsoft.com/office/drawing/2014/main" id="{50811149-1D3D-45EC-9D04-E409FF6C5B21}"/>
                </a:ext>
              </a:extLst>
            </p:cNvPr>
            <p:cNvSpPr txBox="1"/>
            <p:nvPr/>
          </p:nvSpPr>
          <p:spPr>
            <a:xfrm>
              <a:off x="1849795" y="1533746"/>
              <a:ext cx="6689735" cy="230833"/>
            </a:xfrm>
            <a:prstGeom prst="rect">
              <a:avLst/>
            </a:prstGeom>
            <a:noFill/>
          </p:spPr>
          <p:txBody>
            <a:bodyPr wrap="square" rtlCol="0">
              <a:spAutoFit/>
            </a:bodyPr>
            <a:lstStyle/>
            <a:p>
              <a:pPr defTabSz="1219170">
                <a:defRPr/>
              </a:pPr>
              <a:r>
                <a:rPr lang="en-US" sz="1400" b="1" kern="0" dirty="0">
                  <a:solidFill>
                    <a:srgbClr val="9BBB59">
                      <a:lumMod val="50000"/>
                    </a:srgbClr>
                  </a:solidFill>
                  <a:latin typeface="Arial"/>
                </a:rPr>
                <a:t>Employees are the </a:t>
              </a:r>
              <a:r>
                <a:rPr lang="en-US" sz="1400" b="1" kern="0" dirty="0">
                  <a:solidFill>
                    <a:srgbClr val="3399FF"/>
                  </a:solidFill>
                  <a:latin typeface="Arial"/>
                </a:rPr>
                <a:t>“masters of the BLUE LINE”</a:t>
              </a:r>
              <a:r>
                <a:rPr lang="en-US" sz="1400" b="1" kern="0" dirty="0">
                  <a:solidFill>
                    <a:srgbClr val="9BBB59">
                      <a:lumMod val="50000"/>
                    </a:srgbClr>
                  </a:solidFill>
                  <a:latin typeface="Arial"/>
                </a:rPr>
                <a:t>, the heroes of our workplace </a:t>
              </a:r>
            </a:p>
          </p:txBody>
        </p:sp>
        <p:cxnSp>
          <p:nvCxnSpPr>
            <p:cNvPr id="23" name="Straight Arrow Connector 22">
              <a:extLst>
                <a:ext uri="{FF2B5EF4-FFF2-40B4-BE49-F238E27FC236}">
                  <a16:creationId xmlns:a16="http://schemas.microsoft.com/office/drawing/2014/main" id="{01BAB14D-3E5D-44E8-A4B8-4DBBE22B5F75}"/>
                </a:ext>
              </a:extLst>
            </p:cNvPr>
            <p:cNvCxnSpPr>
              <a:cxnSpLocks/>
            </p:cNvCxnSpPr>
            <p:nvPr/>
          </p:nvCxnSpPr>
          <p:spPr>
            <a:xfrm>
              <a:off x="7335880" y="1868271"/>
              <a:ext cx="0" cy="1378797"/>
            </a:xfrm>
            <a:prstGeom prst="straightConnector1">
              <a:avLst/>
            </a:prstGeom>
            <a:ln w="25400">
              <a:solidFill>
                <a:srgbClr val="FF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4B7DFDE-8224-4FB3-84AB-344C35D56CF9}"/>
                </a:ext>
              </a:extLst>
            </p:cNvPr>
            <p:cNvSpPr txBox="1"/>
            <p:nvPr/>
          </p:nvSpPr>
          <p:spPr>
            <a:xfrm>
              <a:off x="5351691" y="3402702"/>
              <a:ext cx="1365880" cy="223091"/>
            </a:xfrm>
            <a:prstGeom prst="rect">
              <a:avLst/>
            </a:prstGeom>
            <a:solidFill>
              <a:schemeClr val="bg1"/>
            </a:solidFill>
          </p:spPr>
          <p:txBody>
            <a:bodyPr wrap="square" rtlCol="0">
              <a:spAutoFit/>
            </a:bodyPr>
            <a:lstStyle/>
            <a:p>
              <a:pPr defTabSz="1219170">
                <a:defRPr/>
              </a:pPr>
              <a:r>
                <a:rPr lang="en-US" sz="1333" dirty="0">
                  <a:solidFill>
                    <a:srgbClr val="9BBB59">
                      <a:lumMod val="50000"/>
                    </a:srgbClr>
                  </a:solidFill>
                  <a:latin typeface="Arial"/>
                </a:rPr>
                <a:t>Blame fixes nothing!</a:t>
              </a:r>
            </a:p>
          </p:txBody>
        </p:sp>
        <p:sp>
          <p:nvSpPr>
            <p:cNvPr id="20" name="Explosion: 14 Points 19">
              <a:extLst>
                <a:ext uri="{FF2B5EF4-FFF2-40B4-BE49-F238E27FC236}">
                  <a16:creationId xmlns:a16="http://schemas.microsoft.com/office/drawing/2014/main" id="{0465576D-98B6-40A0-B597-97C1BAE51AFD}"/>
                </a:ext>
              </a:extLst>
            </p:cNvPr>
            <p:cNvSpPr/>
            <p:nvPr/>
          </p:nvSpPr>
          <p:spPr>
            <a:xfrm>
              <a:off x="7655577" y="2902175"/>
              <a:ext cx="948017" cy="816885"/>
            </a:xfrm>
            <a:prstGeom prst="irregularSeal2">
              <a:avLst/>
            </a:prstGeom>
            <a:solidFill>
              <a:srgbClr val="FFC000"/>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170">
                <a:defRPr/>
              </a:pPr>
              <a:r>
                <a:rPr lang="en-US" sz="667" b="1" dirty="0">
                  <a:solidFill>
                    <a:srgbClr val="FF0000"/>
                  </a:solidFill>
                  <a:latin typeface="Arial"/>
                </a:rPr>
                <a:t>EVENT</a:t>
              </a:r>
            </a:p>
          </p:txBody>
        </p:sp>
      </p:grpSp>
      <p:sp>
        <p:nvSpPr>
          <p:cNvPr id="24" name="TextBox 23">
            <a:extLst>
              <a:ext uri="{FF2B5EF4-FFF2-40B4-BE49-F238E27FC236}">
                <a16:creationId xmlns:a16="http://schemas.microsoft.com/office/drawing/2014/main" id="{392480FD-33EC-417B-8A6E-214809DD67C0}"/>
              </a:ext>
            </a:extLst>
          </p:cNvPr>
          <p:cNvSpPr txBox="1"/>
          <p:nvPr/>
        </p:nvSpPr>
        <p:spPr>
          <a:xfrm>
            <a:off x="9421948" y="3004793"/>
            <a:ext cx="2413520" cy="830997"/>
          </a:xfrm>
          <a:prstGeom prst="rect">
            <a:avLst/>
          </a:prstGeom>
          <a:solidFill>
            <a:schemeClr val="bg1"/>
          </a:solidFill>
        </p:spPr>
        <p:txBody>
          <a:bodyPr wrap="square" rtlCol="0">
            <a:spAutoFit/>
          </a:bodyPr>
          <a:lstStyle/>
          <a:p>
            <a:pPr defTabSz="1219170">
              <a:defRPr/>
            </a:pPr>
            <a:r>
              <a:rPr lang="en-US" sz="1333" dirty="0">
                <a:solidFill>
                  <a:srgbClr val="FF0000"/>
                </a:solidFill>
                <a:latin typeface="Arial"/>
              </a:rPr>
              <a:t>Traditional Safety Management Focus</a:t>
            </a:r>
          </a:p>
          <a:p>
            <a:pPr marL="228594" indent="-228594" defTabSz="1219170">
              <a:buFont typeface="Arial" panose="020B0604020202020204" pitchFamily="34" charset="0"/>
              <a:buChar char="•"/>
              <a:defRPr/>
            </a:pPr>
            <a:r>
              <a:rPr lang="en-US" sz="1067" dirty="0">
                <a:solidFill>
                  <a:srgbClr val="FF0000"/>
                </a:solidFill>
                <a:latin typeface="Arial"/>
              </a:rPr>
              <a:t>Didn’t Follow the requirements or process</a:t>
            </a:r>
          </a:p>
        </p:txBody>
      </p:sp>
      <p:sp>
        <p:nvSpPr>
          <p:cNvPr id="18" name="TextBox 17">
            <a:extLst>
              <a:ext uri="{FF2B5EF4-FFF2-40B4-BE49-F238E27FC236}">
                <a16:creationId xmlns:a16="http://schemas.microsoft.com/office/drawing/2014/main" id="{BE29D86F-3C0B-4A15-B98F-64B4F4CE83E7}"/>
              </a:ext>
            </a:extLst>
          </p:cNvPr>
          <p:cNvSpPr txBox="1"/>
          <p:nvPr/>
        </p:nvSpPr>
        <p:spPr>
          <a:xfrm>
            <a:off x="694944" y="3645576"/>
            <a:ext cx="2176667" cy="2154436"/>
          </a:xfrm>
          <a:prstGeom prst="rect">
            <a:avLst/>
          </a:prstGeom>
          <a:noFill/>
          <a:ln>
            <a:solidFill>
              <a:schemeClr val="accent1"/>
            </a:solidFill>
          </a:ln>
        </p:spPr>
        <p:txBody>
          <a:bodyPr wrap="square" rtlCol="0">
            <a:spAutoFit/>
          </a:bodyPr>
          <a:lstStyle/>
          <a:p>
            <a:pPr defTabSz="1219170">
              <a:defRPr/>
            </a:pPr>
            <a:r>
              <a:rPr lang="en-US" sz="1200" b="1" u="sng" dirty="0">
                <a:solidFill>
                  <a:prstClr val="black"/>
                </a:solidFill>
                <a:latin typeface="Arial"/>
              </a:rPr>
              <a:t>Why does this happen?</a:t>
            </a:r>
          </a:p>
          <a:p>
            <a:pPr marL="228594" indent="-228594" defTabSz="1219170">
              <a:buFont typeface="Arial" panose="020B0604020202020204" pitchFamily="34" charset="0"/>
              <a:buChar char="•"/>
              <a:defRPr/>
            </a:pPr>
            <a:r>
              <a:rPr lang="en-US" sz="1200" dirty="0">
                <a:solidFill>
                  <a:prstClr val="black"/>
                </a:solidFill>
                <a:latin typeface="Arial"/>
              </a:rPr>
              <a:t>Overcoming Obstacles</a:t>
            </a:r>
          </a:p>
          <a:p>
            <a:pPr marL="228594" indent="-228594" defTabSz="1219170">
              <a:buFont typeface="Arial" panose="020B0604020202020204" pitchFamily="34" charset="0"/>
              <a:buChar char="•"/>
              <a:defRPr/>
            </a:pPr>
            <a:r>
              <a:rPr lang="en-US" sz="1200" dirty="0">
                <a:solidFill>
                  <a:prstClr val="black"/>
                </a:solidFill>
                <a:latin typeface="Arial"/>
              </a:rPr>
              <a:t>Adaptions</a:t>
            </a:r>
          </a:p>
          <a:p>
            <a:pPr marL="228594" indent="-228594" defTabSz="1219170">
              <a:buFont typeface="Arial" panose="020B0604020202020204" pitchFamily="34" charset="0"/>
              <a:buChar char="•"/>
              <a:defRPr/>
            </a:pPr>
            <a:r>
              <a:rPr lang="en-US" sz="1200" dirty="0">
                <a:solidFill>
                  <a:prstClr val="black"/>
                </a:solidFill>
                <a:latin typeface="Arial"/>
              </a:rPr>
              <a:t>Adjustments</a:t>
            </a:r>
          </a:p>
          <a:p>
            <a:pPr marL="228594" indent="-228594" defTabSz="1219170">
              <a:buFont typeface="Arial" panose="020B0604020202020204" pitchFamily="34" charset="0"/>
              <a:buChar char="•"/>
              <a:defRPr/>
            </a:pPr>
            <a:r>
              <a:rPr lang="en-US" sz="1200" dirty="0">
                <a:solidFill>
                  <a:prstClr val="black"/>
                </a:solidFill>
                <a:latin typeface="Arial"/>
              </a:rPr>
              <a:t>Work-Arounds</a:t>
            </a:r>
          </a:p>
          <a:p>
            <a:pPr marL="228594" indent="-228594" defTabSz="1219170">
              <a:buFont typeface="Arial" panose="020B0604020202020204" pitchFamily="34" charset="0"/>
              <a:buChar char="•"/>
              <a:defRPr/>
            </a:pPr>
            <a:r>
              <a:rPr lang="en-US" sz="1200" dirty="0">
                <a:solidFill>
                  <a:prstClr val="black"/>
                </a:solidFill>
                <a:latin typeface="Arial"/>
              </a:rPr>
              <a:t>Problem Solving</a:t>
            </a:r>
          </a:p>
          <a:p>
            <a:pPr marL="228594" indent="-228594" defTabSz="1219170">
              <a:buFont typeface="Arial" panose="020B0604020202020204" pitchFamily="34" charset="0"/>
              <a:buChar char="•"/>
              <a:defRPr/>
            </a:pPr>
            <a:r>
              <a:rPr lang="en-US" sz="1200" dirty="0">
                <a:solidFill>
                  <a:prstClr val="black"/>
                </a:solidFill>
                <a:latin typeface="Arial"/>
              </a:rPr>
              <a:t>Tweaking</a:t>
            </a:r>
          </a:p>
          <a:p>
            <a:pPr marL="228594" indent="-228594" defTabSz="1219170">
              <a:buFont typeface="Arial" panose="020B0604020202020204" pitchFamily="34" charset="0"/>
              <a:buChar char="•"/>
              <a:defRPr/>
            </a:pPr>
            <a:r>
              <a:rPr lang="en-US" sz="1200" dirty="0">
                <a:solidFill>
                  <a:prstClr val="black"/>
                </a:solidFill>
                <a:latin typeface="Arial"/>
              </a:rPr>
              <a:t>Fine tuning</a:t>
            </a:r>
          </a:p>
          <a:p>
            <a:pPr marL="228594" indent="-228594" defTabSz="1219170">
              <a:buFont typeface="Arial" panose="020B0604020202020204" pitchFamily="34" charset="0"/>
              <a:buChar char="•"/>
              <a:defRPr/>
            </a:pPr>
            <a:r>
              <a:rPr lang="en-US" sz="1200" dirty="0">
                <a:solidFill>
                  <a:prstClr val="black"/>
                </a:solidFill>
                <a:latin typeface="Arial"/>
              </a:rPr>
              <a:t>Goal trade-offs</a:t>
            </a:r>
            <a:br>
              <a:rPr lang="en-US" sz="1200" dirty="0">
                <a:solidFill>
                  <a:prstClr val="black"/>
                </a:solidFill>
                <a:latin typeface="Arial"/>
              </a:rPr>
            </a:br>
            <a:endParaRPr lang="en-US" sz="1200" dirty="0">
              <a:solidFill>
                <a:prstClr val="black"/>
              </a:solidFill>
              <a:latin typeface="Arial"/>
            </a:endParaRPr>
          </a:p>
          <a:p>
            <a:pPr defTabSz="1219170">
              <a:defRPr/>
            </a:pPr>
            <a:r>
              <a:rPr lang="en-US" sz="1400" b="1" dirty="0">
                <a:solidFill>
                  <a:prstClr val="black"/>
                </a:solidFill>
                <a:latin typeface="Arial"/>
              </a:rPr>
              <a:t>Normally Successful!</a:t>
            </a:r>
          </a:p>
        </p:txBody>
      </p:sp>
      <p:sp>
        <p:nvSpPr>
          <p:cNvPr id="14" name="TextBox 13">
            <a:extLst>
              <a:ext uri="{FF2B5EF4-FFF2-40B4-BE49-F238E27FC236}">
                <a16:creationId xmlns:a16="http://schemas.microsoft.com/office/drawing/2014/main" id="{50C56E3D-7450-865B-7F8E-AD446CFE6FC7}"/>
              </a:ext>
            </a:extLst>
          </p:cNvPr>
          <p:cNvSpPr txBox="1"/>
          <p:nvPr/>
        </p:nvSpPr>
        <p:spPr>
          <a:xfrm>
            <a:off x="5720075" y="5610090"/>
            <a:ext cx="1436862" cy="276999"/>
          </a:xfrm>
          <a:prstGeom prst="rect">
            <a:avLst/>
          </a:prstGeom>
          <a:noFill/>
        </p:spPr>
        <p:txBody>
          <a:bodyPr wrap="square">
            <a:spAutoFit/>
          </a:bodyPr>
          <a:lstStyle/>
          <a:p>
            <a:r>
              <a:rPr lang="en-US" sz="1200" dirty="0"/>
              <a:t>Defense Capacity</a:t>
            </a:r>
          </a:p>
        </p:txBody>
      </p:sp>
    </p:spTree>
    <p:extLst>
      <p:ext uri="{BB962C8B-B14F-4D97-AF65-F5344CB8AC3E}">
        <p14:creationId xmlns:p14="http://schemas.microsoft.com/office/powerpoint/2010/main" val="27779082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C91B048-DA34-4B85-ABD8-ED490355A337}"/>
              </a:ext>
            </a:extLst>
          </p:cNvPr>
          <p:cNvSpPr>
            <a:spLocks noGrp="1"/>
          </p:cNvSpPr>
          <p:nvPr>
            <p:ph type="body" sz="quarter" idx="13"/>
          </p:nvPr>
        </p:nvSpPr>
        <p:spPr>
          <a:xfrm>
            <a:off x="437975" y="1601297"/>
            <a:ext cx="3354542" cy="2668354"/>
          </a:xfrm>
        </p:spPr>
        <p:txBody>
          <a:bodyPr/>
          <a:lstStyle/>
          <a:p>
            <a:pPr marL="0" indent="0">
              <a:lnSpc>
                <a:spcPct val="107000"/>
              </a:lnSpc>
              <a:spcAft>
                <a:spcPts val="0"/>
              </a:spcAft>
              <a:buNone/>
            </a:pPr>
            <a:r>
              <a:rPr lang="en-US" sz="2000" b="1" dirty="0">
                <a:effectLst/>
                <a:latin typeface="Calibri" panose="020F0502020204030204" pitchFamily="34" charset="0"/>
                <a:ea typeface="Calibri" panose="020F0502020204030204" pitchFamily="34" charset="0"/>
                <a:cs typeface="Times New Roman" panose="02020603050405020304" pitchFamily="18" charset="0"/>
              </a:rPr>
              <a:t>Work as imagined (black line)</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Follow speed limit</a:t>
            </a:r>
          </a:p>
          <a:p>
            <a:pPr>
              <a:lnSpc>
                <a:spcPct val="107000"/>
              </a:lnSpc>
              <a:spcAft>
                <a:spcPts val="0"/>
              </a:spcAft>
            </a:pPr>
            <a:r>
              <a:rPr lang="en-US" sz="2000" b="0" dirty="0">
                <a:effectLst/>
                <a:latin typeface="Calibri" panose="020F0502020204030204" pitchFamily="34" charset="0"/>
                <a:ea typeface="Calibri" panose="020F0502020204030204" pitchFamily="34" charset="0"/>
                <a:cs typeface="Times New Roman" panose="02020603050405020304" pitchFamily="18" charset="0"/>
              </a:rPr>
              <a:t>Both hands on the wheel</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Keep distance between cars</a:t>
            </a:r>
          </a:p>
          <a:p>
            <a:pPr>
              <a:lnSpc>
                <a:spcPct val="107000"/>
              </a:lnSpc>
              <a:spcAft>
                <a:spcPts val="0"/>
              </a:spcAft>
            </a:pPr>
            <a:r>
              <a:rPr lang="en-US" sz="2000" b="0" dirty="0">
                <a:effectLst/>
                <a:latin typeface="Calibri" panose="020F0502020204030204" pitchFamily="34" charset="0"/>
                <a:ea typeface="Calibri" panose="020F0502020204030204" pitchFamily="34" charset="0"/>
                <a:cs typeface="Times New Roman" panose="02020603050405020304" pitchFamily="18" charset="0"/>
              </a:rPr>
              <a:t>Use turn signals</a:t>
            </a:r>
          </a:p>
          <a:p>
            <a:pPr>
              <a:lnSpc>
                <a:spcPct val="107000"/>
              </a:lnSpc>
              <a:spcAft>
                <a:spcPts val="0"/>
              </a:spcAft>
            </a:pPr>
            <a:r>
              <a:rPr lang="en-US" sz="2000" b="0" dirty="0">
                <a:effectLst/>
                <a:latin typeface="Calibri" panose="020F0502020204030204" pitchFamily="34" charset="0"/>
                <a:ea typeface="Calibri" panose="020F0502020204030204" pitchFamily="34" charset="0"/>
                <a:cs typeface="Times New Roman" panose="02020603050405020304" pitchFamily="18" charset="0"/>
              </a:rPr>
              <a:t>Obey all traffic sign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Pay attention</a:t>
            </a:r>
          </a:p>
          <a:p>
            <a:pPr>
              <a:lnSpc>
                <a:spcPct val="107000"/>
              </a:lnSpc>
              <a:spcAft>
                <a:spcPts val="0"/>
              </a:spcAft>
            </a:pPr>
            <a:endParaRPr lang="en-US" sz="2000" b="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7"/>
          </p:nvPr>
        </p:nvSpPr>
        <p:spPr>
          <a:xfrm>
            <a:off x="694944" y="1075688"/>
            <a:ext cx="10820400" cy="341632"/>
          </a:xfrm>
        </p:spPr>
        <p:txBody>
          <a:bodyPr/>
          <a:lstStyle/>
          <a:p>
            <a:r>
              <a:rPr lang="en-US" dirty="0"/>
              <a:t>Example: Driving a Car</a:t>
            </a:r>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b="1" dirty="0"/>
              <a:t>Work as Done vs work as imagined</a:t>
            </a:r>
          </a:p>
        </p:txBody>
      </p:sp>
      <p:sp>
        <p:nvSpPr>
          <p:cNvPr id="2" name="Text Placeholder 3">
            <a:extLst>
              <a:ext uri="{FF2B5EF4-FFF2-40B4-BE49-F238E27FC236}">
                <a16:creationId xmlns:a16="http://schemas.microsoft.com/office/drawing/2014/main" id="{48789389-8C3A-9F6C-934A-94079002348C}"/>
              </a:ext>
            </a:extLst>
          </p:cNvPr>
          <p:cNvSpPr>
            <a:spLocks noGrp="1"/>
          </p:cNvSpPr>
          <p:nvPr>
            <p:ph type="body" sz="quarter" idx="15"/>
          </p:nvPr>
        </p:nvSpPr>
        <p:spPr/>
        <p:txBody>
          <a:bodyPr/>
          <a:lstStyle/>
          <a:p>
            <a:r>
              <a:rPr lang="en-US" sz="1400" dirty="0"/>
              <a:t>Change the conditions in which humans work.</a:t>
            </a:r>
          </a:p>
        </p:txBody>
      </p:sp>
      <p:sp>
        <p:nvSpPr>
          <p:cNvPr id="8" name="Text Placeholder 6">
            <a:extLst>
              <a:ext uri="{FF2B5EF4-FFF2-40B4-BE49-F238E27FC236}">
                <a16:creationId xmlns:a16="http://schemas.microsoft.com/office/drawing/2014/main" id="{F7E37914-9607-4A34-A2A0-E566AE6E6137}"/>
              </a:ext>
            </a:extLst>
          </p:cNvPr>
          <p:cNvSpPr txBox="1">
            <a:spLocks/>
          </p:cNvSpPr>
          <p:nvPr/>
        </p:nvSpPr>
        <p:spPr>
          <a:xfrm>
            <a:off x="8417771" y="1488021"/>
            <a:ext cx="2814144" cy="3068374"/>
          </a:xfrm>
          <a:prstGeom prst="rect">
            <a:avLst/>
          </a:prstGeom>
          <a:noFill/>
        </p:spPr>
        <p:txBody>
          <a:bodyPr vert="horz" lIns="0" tIns="0" rIns="0" bIns="0" rtlCol="0">
            <a:noAutofit/>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2000" kern="1200" baseline="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baseline="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Aft>
                <a:spcPts val="0"/>
              </a:spcAft>
              <a:buFont typeface="Arial" panose="020B0604020202020204" pitchFamily="34" charset="0"/>
              <a:buNone/>
            </a:pPr>
            <a:r>
              <a:rPr lang="en-US" sz="2000" b="1" dirty="0">
                <a:latin typeface="Calibri" panose="020F0502020204030204" pitchFamily="34" charset="0"/>
                <a:ea typeface="Calibri" panose="020F0502020204030204" pitchFamily="34" charset="0"/>
                <a:cs typeface="Times New Roman" panose="02020603050405020304" pitchFamily="18" charset="0"/>
              </a:rPr>
              <a:t>Controls (capacity)</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AWD</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Horn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Blind Spot Indicator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Lane Assist</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Automatic Braking</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Seats belt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Airbag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Phone driving settings</a:t>
            </a: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 Placeholder 6">
            <a:extLst>
              <a:ext uri="{FF2B5EF4-FFF2-40B4-BE49-F238E27FC236}">
                <a16:creationId xmlns:a16="http://schemas.microsoft.com/office/drawing/2014/main" id="{1F631CF9-96AD-46B2-BAD2-8B7F76B3C8E6}"/>
              </a:ext>
            </a:extLst>
          </p:cNvPr>
          <p:cNvSpPr txBox="1">
            <a:spLocks/>
          </p:cNvSpPr>
          <p:nvPr/>
        </p:nvSpPr>
        <p:spPr>
          <a:xfrm>
            <a:off x="4698072" y="1577888"/>
            <a:ext cx="2814144" cy="2668353"/>
          </a:xfrm>
          <a:prstGeom prst="rect">
            <a:avLst/>
          </a:prstGeom>
          <a:noFill/>
        </p:spPr>
        <p:txBody>
          <a:bodyPr vert="horz" lIns="0" tIns="0" rIns="0" bIns="0" rtlCol="0">
            <a:noAutofit/>
          </a:bodyPr>
          <a:lstStyle>
            <a:lvl1pPr marL="219456" indent="-219456" algn="l" defTabSz="914400" rtl="0" eaLnBrk="1" latinLnBrk="0" hangingPunct="1">
              <a:lnSpc>
                <a:spcPct val="100000"/>
              </a:lnSpc>
              <a:spcBef>
                <a:spcPts val="0"/>
              </a:spcBef>
              <a:spcAft>
                <a:spcPts val="600"/>
              </a:spcAft>
              <a:buClr>
                <a:srgbClr val="CE1126"/>
              </a:buClr>
              <a:buSzPct val="75000"/>
              <a:buFont typeface="Arial" panose="020B0604020202020204" pitchFamily="34" charset="0"/>
              <a:buChar char="•"/>
              <a:defRPr lang="en-US" sz="2200" kern="1200" baseline="0" dirty="0" smtClean="0">
                <a:solidFill>
                  <a:schemeClr val="tx1"/>
                </a:solidFill>
                <a:latin typeface="+mn-lt"/>
                <a:ea typeface="+mn-ea"/>
                <a:cs typeface="+mn-cs"/>
              </a:defRPr>
            </a:lvl1pPr>
            <a:lvl2pPr marL="438912"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2000" kern="1200" baseline="0" dirty="0" smtClean="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800" kern="1200" baseline="0" dirty="0" smtClean="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Clr>
                <a:schemeClr val="accent1"/>
              </a:buClr>
              <a:buSzPct val="100000"/>
              <a:buFont typeface="Arial" panose="020B0604020202020204" pitchFamily="34" charset="0"/>
              <a:buChar char="–"/>
              <a:defRPr lang="en-US" sz="1600" kern="1200" baseline="0" dirty="0" smtClean="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lang="en-US" sz="1600" kern="1200" baseline="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7000"/>
              </a:lnSpc>
              <a:spcAft>
                <a:spcPts val="0"/>
              </a:spcAft>
              <a:buFont typeface="Arial" panose="020B0604020202020204" pitchFamily="34" charset="0"/>
              <a:buNone/>
            </a:pPr>
            <a:r>
              <a:rPr lang="en-US" sz="2000" b="1" dirty="0">
                <a:latin typeface="Calibri" panose="020F0502020204030204" pitchFamily="34" charset="0"/>
                <a:ea typeface="Calibri" panose="020F0502020204030204" pitchFamily="34" charset="0"/>
                <a:cs typeface="Times New Roman" panose="02020603050405020304" pitchFamily="18" charset="0"/>
              </a:rPr>
              <a:t>Work as done (blue line)</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Bad weather</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Other (bad) driver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Forget turn signal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Distractions</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Speeding/Rushing</a:t>
            </a:r>
          </a:p>
          <a:p>
            <a:pPr>
              <a:lnSpc>
                <a:spcPct val="107000"/>
              </a:lnSpc>
              <a:spcAft>
                <a:spcPts val="0"/>
              </a:spcAft>
            </a:pPr>
            <a:r>
              <a:rPr lang="en-US" sz="2000" dirty="0">
                <a:latin typeface="Calibri" panose="020F0502020204030204" pitchFamily="34" charset="0"/>
                <a:ea typeface="Calibri" panose="020F0502020204030204" pitchFamily="34" charset="0"/>
                <a:cs typeface="Times New Roman" panose="02020603050405020304" pitchFamily="18" charset="0"/>
              </a:rPr>
              <a:t>Road rage</a:t>
            </a: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endParaRPr lang="en-US" sz="2000" dirty="0">
              <a:latin typeface="Calibri" panose="020F0502020204030204" pitchFamily="34" charset="0"/>
              <a:ea typeface="Calibri" panose="020F0502020204030204" pitchFamily="34" charset="0"/>
              <a:cs typeface="Times New Roman" panose="02020603050405020304" pitchFamily="18" charset="0"/>
            </a:endParaRPr>
          </a:p>
        </p:txBody>
      </p:sp>
      <p:grpSp>
        <p:nvGrpSpPr>
          <p:cNvPr id="13" name="Group 12">
            <a:extLst>
              <a:ext uri="{FF2B5EF4-FFF2-40B4-BE49-F238E27FC236}">
                <a16:creationId xmlns:a16="http://schemas.microsoft.com/office/drawing/2014/main" id="{C0248674-4490-4D77-A024-CFEF0D3FCEDD}"/>
              </a:ext>
            </a:extLst>
          </p:cNvPr>
          <p:cNvGrpSpPr/>
          <p:nvPr/>
        </p:nvGrpSpPr>
        <p:grpSpPr>
          <a:xfrm>
            <a:off x="1108601" y="4694102"/>
            <a:ext cx="4996543" cy="732573"/>
            <a:chOff x="6270171" y="2914146"/>
            <a:chExt cx="4996543" cy="732573"/>
          </a:xfrm>
        </p:grpSpPr>
        <p:cxnSp>
          <p:nvCxnSpPr>
            <p:cNvPr id="14" name="Straight Connector 13">
              <a:extLst>
                <a:ext uri="{FF2B5EF4-FFF2-40B4-BE49-F238E27FC236}">
                  <a16:creationId xmlns:a16="http://schemas.microsoft.com/office/drawing/2014/main" id="{89F7444E-8895-48BF-8337-42AFF36D4A25}"/>
                </a:ext>
              </a:extLst>
            </p:cNvPr>
            <p:cNvCxnSpPr>
              <a:cxnSpLocks/>
            </p:cNvCxnSpPr>
            <p:nvPr/>
          </p:nvCxnSpPr>
          <p:spPr>
            <a:xfrm>
              <a:off x="6270171" y="3178629"/>
              <a:ext cx="4996543"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94DAFDEC-787C-439B-8F02-96E86E269395}"/>
                </a:ext>
              </a:extLst>
            </p:cNvPr>
            <p:cNvGrpSpPr/>
            <p:nvPr/>
          </p:nvGrpSpPr>
          <p:grpSpPr>
            <a:xfrm>
              <a:off x="6281057" y="2914146"/>
              <a:ext cx="4985657" cy="732573"/>
              <a:chOff x="6281057" y="2914146"/>
              <a:chExt cx="4985657" cy="732573"/>
            </a:xfrm>
          </p:grpSpPr>
          <p:sp>
            <p:nvSpPr>
              <p:cNvPr id="16" name="Freeform: Shape 15">
                <a:extLst>
                  <a:ext uri="{FF2B5EF4-FFF2-40B4-BE49-F238E27FC236}">
                    <a16:creationId xmlns:a16="http://schemas.microsoft.com/office/drawing/2014/main" id="{87220E22-DF7B-49D6-9B0B-E939050BB626}"/>
                  </a:ext>
                </a:extLst>
              </p:cNvPr>
              <p:cNvSpPr/>
              <p:nvPr/>
            </p:nvSpPr>
            <p:spPr>
              <a:xfrm>
                <a:off x="6281057" y="2914146"/>
                <a:ext cx="4985657" cy="689029"/>
              </a:xfrm>
              <a:custGeom>
                <a:avLst/>
                <a:gdLst>
                  <a:gd name="connsiteX0" fmla="*/ 0 w 4985657"/>
                  <a:gd name="connsiteY0" fmla="*/ 253597 h 689029"/>
                  <a:gd name="connsiteX1" fmla="*/ 751114 w 4985657"/>
                  <a:gd name="connsiteY1" fmla="*/ 68540 h 689029"/>
                  <a:gd name="connsiteX2" fmla="*/ 936172 w 4985657"/>
                  <a:gd name="connsiteY2" fmla="*/ 689025 h 689029"/>
                  <a:gd name="connsiteX3" fmla="*/ 1230086 w 4985657"/>
                  <a:gd name="connsiteY3" fmla="*/ 57654 h 689029"/>
                  <a:gd name="connsiteX4" fmla="*/ 1774372 w 4985657"/>
                  <a:gd name="connsiteY4" fmla="*/ 438654 h 689029"/>
                  <a:gd name="connsiteX5" fmla="*/ 3396343 w 4985657"/>
                  <a:gd name="connsiteY5" fmla="*/ 3225 h 689029"/>
                  <a:gd name="connsiteX6" fmla="*/ 4985657 w 4985657"/>
                  <a:gd name="connsiteY6" fmla="*/ 275368 h 689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985657" h="689029">
                    <a:moveTo>
                      <a:pt x="0" y="253597"/>
                    </a:moveTo>
                    <a:cubicBezTo>
                      <a:pt x="297542" y="124783"/>
                      <a:pt x="595085" y="-4031"/>
                      <a:pt x="751114" y="68540"/>
                    </a:cubicBezTo>
                    <a:cubicBezTo>
                      <a:pt x="907143" y="141111"/>
                      <a:pt x="856343" y="690839"/>
                      <a:pt x="936172" y="689025"/>
                    </a:cubicBezTo>
                    <a:cubicBezTo>
                      <a:pt x="1016001" y="687211"/>
                      <a:pt x="1090386" y="99382"/>
                      <a:pt x="1230086" y="57654"/>
                    </a:cubicBezTo>
                    <a:cubicBezTo>
                      <a:pt x="1369786" y="15926"/>
                      <a:pt x="1413329" y="447726"/>
                      <a:pt x="1774372" y="438654"/>
                    </a:cubicBezTo>
                    <a:cubicBezTo>
                      <a:pt x="2135415" y="429583"/>
                      <a:pt x="2861129" y="30439"/>
                      <a:pt x="3396343" y="3225"/>
                    </a:cubicBezTo>
                    <a:cubicBezTo>
                      <a:pt x="3931557" y="-23989"/>
                      <a:pt x="4458607" y="125689"/>
                      <a:pt x="4985657" y="275368"/>
                    </a:cubicBezTo>
                  </a:path>
                </a:pathLst>
              </a:custGeom>
              <a:noFill/>
              <a:ln w="28575">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7" name="Straight Connector 16">
                <a:extLst>
                  <a:ext uri="{FF2B5EF4-FFF2-40B4-BE49-F238E27FC236}">
                    <a16:creationId xmlns:a16="http://schemas.microsoft.com/office/drawing/2014/main" id="{278A86EF-27BC-4889-9AB9-68C416AACC4C}"/>
                  </a:ext>
                </a:extLst>
              </p:cNvPr>
              <p:cNvCxnSpPr/>
              <p:nvPr/>
            </p:nvCxnSpPr>
            <p:spPr>
              <a:xfrm>
                <a:off x="6281057" y="3646719"/>
                <a:ext cx="4985657" cy="0"/>
              </a:xfrm>
              <a:prstGeom prst="line">
                <a:avLst/>
              </a:prstGeom>
              <a:ln w="28575">
                <a:solidFill>
                  <a:schemeClr val="tx2"/>
                </a:solidFill>
                <a:prstDash val="sysDash"/>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9981325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C62F859-2B32-7747-9E09-673E589C27AF}"/>
              </a:ext>
            </a:extLst>
          </p:cNvPr>
          <p:cNvSpPr>
            <a:spLocks noGrp="1"/>
          </p:cNvSpPr>
          <p:nvPr>
            <p:ph type="title"/>
          </p:nvPr>
        </p:nvSpPr>
        <p:spPr>
          <a:xfrm>
            <a:off x="578488" y="319600"/>
            <a:ext cx="11192256" cy="676653"/>
          </a:xfrm>
        </p:spPr>
        <p:txBody>
          <a:bodyPr>
            <a:noAutofit/>
          </a:bodyPr>
          <a:lstStyle/>
          <a:p>
            <a:r>
              <a:rPr lang="en-US" sz="3200" b="1" dirty="0"/>
              <a:t>Human and organizational performance </a:t>
            </a:r>
          </a:p>
        </p:txBody>
      </p:sp>
      <p:pic>
        <p:nvPicPr>
          <p:cNvPr id="2" name="Picture 1">
            <a:extLst>
              <a:ext uri="{FF2B5EF4-FFF2-40B4-BE49-F238E27FC236}">
                <a16:creationId xmlns:a16="http://schemas.microsoft.com/office/drawing/2014/main" id="{BADB0C61-C6E4-437B-ABB5-46D95CDA0F43}"/>
              </a:ext>
            </a:extLst>
          </p:cNvPr>
          <p:cNvPicPr>
            <a:picLocks noChangeAspect="1"/>
          </p:cNvPicPr>
          <p:nvPr/>
        </p:nvPicPr>
        <p:blipFill rotWithShape="1">
          <a:blip r:embed="rId2"/>
          <a:srcRect l="35003" t="8832" r="8010" b="11566"/>
          <a:stretch/>
        </p:blipFill>
        <p:spPr>
          <a:xfrm>
            <a:off x="6716951" y="2063604"/>
            <a:ext cx="3966074" cy="4279923"/>
          </a:xfrm>
          <a:prstGeom prst="rect">
            <a:avLst/>
          </a:prstGeom>
          <a:ln>
            <a:noFill/>
          </a:ln>
          <a:effectLst>
            <a:outerShdw blurRad="292100" dist="139700" dir="2700000" algn="tl" rotWithShape="0">
              <a:srgbClr val="333333">
                <a:alpha val="65000"/>
              </a:srgbClr>
            </a:outerShdw>
          </a:effectLst>
        </p:spPr>
      </p:pic>
      <p:sp>
        <p:nvSpPr>
          <p:cNvPr id="9" name="TextBox 8">
            <a:extLst>
              <a:ext uri="{FF2B5EF4-FFF2-40B4-BE49-F238E27FC236}">
                <a16:creationId xmlns:a16="http://schemas.microsoft.com/office/drawing/2014/main" id="{C96DEF0F-1DEB-4569-907B-45544392A281}"/>
              </a:ext>
            </a:extLst>
          </p:cNvPr>
          <p:cNvSpPr txBox="1"/>
          <p:nvPr/>
        </p:nvSpPr>
        <p:spPr>
          <a:xfrm>
            <a:off x="484123" y="1140274"/>
            <a:ext cx="10739410"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000000"/>
                </a:solidFill>
                <a:effectLst/>
                <a:uLnTx/>
                <a:uFillTx/>
                <a:latin typeface="Arial"/>
                <a:ea typeface="+mn-ea"/>
                <a:cs typeface="+mn-cs"/>
              </a:rPr>
              <a:t>Human and Organizational Performance is essentially about understanding the context and conditions of work. Importantly, HOP is not a program – it’s an operating philosophy that gives us a framework for building more resilient organizations.</a:t>
            </a:r>
          </a:p>
        </p:txBody>
      </p:sp>
      <p:sp>
        <p:nvSpPr>
          <p:cNvPr id="5" name="TextBox 4">
            <a:extLst>
              <a:ext uri="{FF2B5EF4-FFF2-40B4-BE49-F238E27FC236}">
                <a16:creationId xmlns:a16="http://schemas.microsoft.com/office/drawing/2014/main" id="{ED516182-842A-2453-F076-F3BA60E60B67}"/>
              </a:ext>
            </a:extLst>
          </p:cNvPr>
          <p:cNvSpPr txBox="1"/>
          <p:nvPr/>
        </p:nvSpPr>
        <p:spPr>
          <a:xfrm>
            <a:off x="819120" y="2971066"/>
            <a:ext cx="5034708" cy="175432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There are five principles within HOP that shape and influence the way organizations think, act, view success and respond to failure.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Arial"/>
                <a:ea typeface="+mn-ea"/>
                <a:cs typeface="+mn-cs"/>
              </a:rPr>
              <a:t>These principles work together to change the way we think about work and how to improve it.</a:t>
            </a:r>
          </a:p>
        </p:txBody>
      </p:sp>
    </p:spTree>
    <p:extLst>
      <p:ext uri="{BB962C8B-B14F-4D97-AF65-F5344CB8AC3E}">
        <p14:creationId xmlns:p14="http://schemas.microsoft.com/office/powerpoint/2010/main" val="311620229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B9A174C-2BF3-4C39-A295-0C881693A6BD}"/>
              </a:ext>
            </a:extLst>
          </p:cNvPr>
          <p:cNvSpPr>
            <a:spLocks noGrp="1"/>
          </p:cNvSpPr>
          <p:nvPr>
            <p:ph type="body" sz="quarter" idx="13"/>
          </p:nvPr>
        </p:nvSpPr>
        <p:spPr>
          <a:xfrm>
            <a:off x="694944" y="1649174"/>
            <a:ext cx="6494652" cy="3090820"/>
          </a:xfrm>
        </p:spPr>
        <p:txBody>
          <a:bodyPr>
            <a:normAutofit fontScale="92500"/>
          </a:bodyPr>
          <a:lstStyle/>
          <a:p>
            <a:r>
              <a:rPr lang="en-US" dirty="0"/>
              <a:t>Everyone makes mistakes</a:t>
            </a:r>
          </a:p>
          <a:p>
            <a:r>
              <a:rPr lang="en-US" dirty="0"/>
              <a:t>We should design our systems to anticipate mistakes</a:t>
            </a:r>
          </a:p>
          <a:p>
            <a:r>
              <a:rPr lang="en-US" dirty="0"/>
              <a:t>We need to ask, “What happens when someone makes an error or mistake?” And seeks to design safeguards for such situations. </a:t>
            </a:r>
          </a:p>
          <a:p>
            <a:r>
              <a:rPr lang="en-US" dirty="0"/>
              <a:t>When mistakes do occur, the systems should fail safely</a:t>
            </a:r>
          </a:p>
          <a:p>
            <a:r>
              <a:rPr lang="en-US" dirty="0"/>
              <a:t>Example: blind spot indicators</a:t>
            </a:r>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People Make mistakes</a:t>
            </a:r>
          </a:p>
        </p:txBody>
      </p:sp>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5"/>
          </p:nvPr>
        </p:nvSpPr>
        <p:spPr>
          <a:xfrm>
            <a:off x="105397" y="1151366"/>
            <a:ext cx="4068955" cy="279179"/>
          </a:xfrm>
          <a:noFill/>
        </p:spPr>
        <p:txBody>
          <a:bodyPr/>
          <a:lstStyle/>
          <a:p>
            <a:pPr algn="l"/>
            <a:r>
              <a:rPr lang="en-US" sz="1800" dirty="0">
                <a:solidFill>
                  <a:schemeClr val="tx2"/>
                </a:solidFill>
              </a:rPr>
              <a:t>HOP Principle #1</a:t>
            </a:r>
          </a:p>
        </p:txBody>
      </p:sp>
      <p:pic>
        <p:nvPicPr>
          <p:cNvPr id="12" name="Picture 11">
            <a:extLst>
              <a:ext uri="{FF2B5EF4-FFF2-40B4-BE49-F238E27FC236}">
                <a16:creationId xmlns:a16="http://schemas.microsoft.com/office/drawing/2014/main" id="{591F5D8B-477B-9658-5A64-801B6A1894EB}"/>
              </a:ext>
            </a:extLst>
          </p:cNvPr>
          <p:cNvPicPr>
            <a:picLocks noChangeAspect="1"/>
          </p:cNvPicPr>
          <p:nvPr/>
        </p:nvPicPr>
        <p:blipFill>
          <a:blip r:embed="rId3"/>
          <a:stretch>
            <a:fillRect/>
          </a:stretch>
        </p:blipFill>
        <p:spPr>
          <a:xfrm>
            <a:off x="7428102" y="565252"/>
            <a:ext cx="3624745" cy="2209332"/>
          </a:xfrm>
          <a:prstGeom prst="rect">
            <a:avLst/>
          </a:prstGeom>
          <a:ln>
            <a:noFill/>
          </a:ln>
          <a:effectLst>
            <a:outerShdw blurRad="292100" dist="139700" dir="2700000" algn="tl" rotWithShape="0">
              <a:srgbClr val="333333">
                <a:alpha val="65000"/>
              </a:srgbClr>
            </a:outerShdw>
          </a:effectLst>
        </p:spPr>
      </p:pic>
      <p:pic>
        <p:nvPicPr>
          <p:cNvPr id="14" name="Picture 13">
            <a:extLst>
              <a:ext uri="{FF2B5EF4-FFF2-40B4-BE49-F238E27FC236}">
                <a16:creationId xmlns:a16="http://schemas.microsoft.com/office/drawing/2014/main" id="{45500543-DD90-B93F-6E40-C771B2A36FA7}"/>
              </a:ext>
            </a:extLst>
          </p:cNvPr>
          <p:cNvPicPr>
            <a:picLocks noChangeAspect="1"/>
          </p:cNvPicPr>
          <p:nvPr/>
        </p:nvPicPr>
        <p:blipFill>
          <a:blip r:embed="rId4"/>
          <a:stretch>
            <a:fillRect/>
          </a:stretch>
        </p:blipFill>
        <p:spPr>
          <a:xfrm>
            <a:off x="8077537" y="2400316"/>
            <a:ext cx="3474234" cy="2537717"/>
          </a:xfrm>
          <a:prstGeom prst="rect">
            <a:avLst/>
          </a:prstGeom>
          <a:ln>
            <a:noFill/>
          </a:ln>
          <a:effectLst>
            <a:outerShdw blurRad="292100" dist="139700" dir="2700000" algn="tl" rotWithShape="0">
              <a:srgbClr val="333333">
                <a:alpha val="65000"/>
              </a:srgbClr>
            </a:outerShdw>
          </a:effectLst>
        </p:spPr>
      </p:pic>
      <p:sp>
        <p:nvSpPr>
          <p:cNvPr id="6" name="TextBox 5">
            <a:extLst>
              <a:ext uri="{FF2B5EF4-FFF2-40B4-BE49-F238E27FC236}">
                <a16:creationId xmlns:a16="http://schemas.microsoft.com/office/drawing/2014/main" id="{B37AB512-E68A-F38D-00C7-DA478D4EB516}"/>
              </a:ext>
            </a:extLst>
          </p:cNvPr>
          <p:cNvSpPr txBox="1"/>
          <p:nvPr/>
        </p:nvSpPr>
        <p:spPr>
          <a:xfrm>
            <a:off x="694943" y="5437702"/>
            <a:ext cx="10978248" cy="64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200" i="1" dirty="0"/>
              <a:t>The goal of Human and Organizational Performance is to become a lot less surprised by human error and instead become a lot more interested in learning from mistakes to build more tolerant forgiving systems that fail safely.  Human and Organizational Performance looks to tap into the workers as the solution by engaging them following an injury, near miss, good catch, high risk operation and even successes!</a:t>
            </a:r>
          </a:p>
        </p:txBody>
      </p:sp>
    </p:spTree>
    <p:extLst>
      <p:ext uri="{BB962C8B-B14F-4D97-AF65-F5344CB8AC3E}">
        <p14:creationId xmlns:p14="http://schemas.microsoft.com/office/powerpoint/2010/main" val="99131936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6">
            <a:extLst>
              <a:ext uri="{FF2B5EF4-FFF2-40B4-BE49-F238E27FC236}">
                <a16:creationId xmlns:a16="http://schemas.microsoft.com/office/drawing/2014/main" id="{62CC51B2-02A4-46E1-B34A-F19628624889}"/>
              </a:ext>
            </a:extLst>
          </p:cNvPr>
          <p:cNvSpPr>
            <a:spLocks noGrp="1"/>
          </p:cNvSpPr>
          <p:nvPr>
            <p:ph type="body" sz="quarter" idx="13"/>
          </p:nvPr>
        </p:nvSpPr>
        <p:spPr>
          <a:xfrm>
            <a:off x="694944" y="1639051"/>
            <a:ext cx="10624524" cy="4176156"/>
          </a:xfrm>
        </p:spPr>
        <p:txBody>
          <a:bodyPr/>
          <a:lstStyle/>
          <a:p>
            <a:r>
              <a:rPr lang="en-US" dirty="0"/>
              <a:t>“Blame is emotionally satisfying, just not very operationally satisfying”</a:t>
            </a:r>
          </a:p>
          <a:p>
            <a:pPr marL="0" indent="0">
              <a:buNone/>
            </a:pPr>
            <a:endParaRPr lang="en-US" dirty="0"/>
          </a:p>
          <a:p>
            <a:r>
              <a:rPr lang="en-US" dirty="0"/>
              <a:t>It is easy to label people unfairly…blame makes us feel like we have done something wrong</a:t>
            </a:r>
          </a:p>
          <a:p>
            <a:pPr lvl="1">
              <a:buClr>
                <a:srgbClr val="63666A"/>
              </a:buClr>
              <a:defRPr/>
            </a:pPr>
            <a:r>
              <a:rPr lang="en-US" dirty="0">
                <a:solidFill>
                  <a:srgbClr val="000000"/>
                </a:solidFill>
                <a:latin typeface="Arial"/>
              </a:rPr>
              <a:t>If you blamed somebody, what did you fix to make the process better?</a:t>
            </a:r>
          </a:p>
          <a:p>
            <a:pPr lvl="1">
              <a:buClr>
                <a:srgbClr val="63666A"/>
              </a:buClr>
              <a:defRPr/>
            </a:pPr>
            <a:r>
              <a:rPr lang="en-US" dirty="0">
                <a:solidFill>
                  <a:srgbClr val="000000"/>
                </a:solidFill>
                <a:latin typeface="Arial"/>
              </a:rPr>
              <a:t>The next person to come along could make the same exact mistakes, because we haven’t fixed the system</a:t>
            </a:r>
          </a:p>
          <a:p>
            <a:pPr marL="182880" lvl="2" indent="0">
              <a:buClr>
                <a:srgbClr val="CE1126"/>
              </a:buClr>
              <a:buNone/>
            </a:pPr>
            <a:endParaRPr lang="en-US" sz="2200" dirty="0"/>
          </a:p>
          <a:p>
            <a:r>
              <a:rPr lang="en-US" dirty="0">
                <a:effectLst/>
                <a:ea typeface="Calibri" panose="020F0502020204030204" pitchFamily="34" charset="0"/>
                <a:cs typeface="Times New Roman" panose="02020603050405020304" pitchFamily="18" charset="0"/>
              </a:rPr>
              <a:t>HOP recognizes that those involved in accidents and incidents have an important role to play in the process of restoring and learning</a:t>
            </a:r>
          </a:p>
        </p:txBody>
      </p:sp>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7"/>
          </p:nvPr>
        </p:nvSpPr>
        <p:spPr>
          <a:xfrm>
            <a:off x="694944" y="1127305"/>
            <a:ext cx="10820400" cy="341632"/>
          </a:xfrm>
        </p:spPr>
        <p:txBody>
          <a:bodyPr/>
          <a:lstStyle/>
          <a:p>
            <a:r>
              <a:rPr lang="en-US" dirty="0"/>
              <a:t>HOP Principle #2</a:t>
            </a:r>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Blame fixes nothing</a:t>
            </a:r>
          </a:p>
        </p:txBody>
      </p:sp>
      <p:sp>
        <p:nvSpPr>
          <p:cNvPr id="10" name="Text Placeholder 4">
            <a:extLst>
              <a:ext uri="{FF2B5EF4-FFF2-40B4-BE49-F238E27FC236}">
                <a16:creationId xmlns:a16="http://schemas.microsoft.com/office/drawing/2014/main" id="{EBE670A2-A4B1-69A6-89EB-B52F618F8178}"/>
              </a:ext>
            </a:extLst>
          </p:cNvPr>
          <p:cNvSpPr>
            <a:spLocks noGrp="1"/>
          </p:cNvSpPr>
          <p:nvPr>
            <p:ph type="body" sz="quarter" idx="15"/>
          </p:nvPr>
        </p:nvSpPr>
        <p:spPr/>
        <p:txBody>
          <a:bodyPr/>
          <a:lstStyle/>
          <a:p>
            <a:r>
              <a:rPr lang="en-US" dirty="0"/>
              <a:t>By taking blame away, we enable better learning.</a:t>
            </a:r>
          </a:p>
        </p:txBody>
      </p:sp>
      <p:pic>
        <p:nvPicPr>
          <p:cNvPr id="2" name="Picture 1">
            <a:extLst>
              <a:ext uri="{FF2B5EF4-FFF2-40B4-BE49-F238E27FC236}">
                <a16:creationId xmlns:a16="http://schemas.microsoft.com/office/drawing/2014/main" id="{52619B6C-7CE1-45E7-AAC5-923AF6BADC42}"/>
              </a:ext>
            </a:extLst>
          </p:cNvPr>
          <p:cNvPicPr>
            <a:picLocks noChangeAspect="1"/>
          </p:cNvPicPr>
          <p:nvPr/>
        </p:nvPicPr>
        <p:blipFill>
          <a:blip r:embed="rId3"/>
          <a:stretch>
            <a:fillRect/>
          </a:stretch>
        </p:blipFill>
        <p:spPr>
          <a:xfrm>
            <a:off x="9594355" y="0"/>
            <a:ext cx="2597645" cy="1298823"/>
          </a:xfrm>
          <a:prstGeom prst="rect">
            <a:avLst/>
          </a:prstGeom>
        </p:spPr>
      </p:pic>
    </p:spTree>
    <p:extLst>
      <p:ext uri="{BB962C8B-B14F-4D97-AF65-F5344CB8AC3E}">
        <p14:creationId xmlns:p14="http://schemas.microsoft.com/office/powerpoint/2010/main" val="4999996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896D37C-B177-D259-A2A7-4FDB33FEB898}"/>
              </a:ext>
            </a:extLst>
          </p:cNvPr>
          <p:cNvSpPr>
            <a:spLocks noGrp="1"/>
          </p:cNvSpPr>
          <p:nvPr>
            <p:ph type="body" sz="quarter" idx="13"/>
          </p:nvPr>
        </p:nvSpPr>
        <p:spPr/>
        <p:txBody>
          <a:bodyPr/>
          <a:lstStyle/>
          <a:p>
            <a:pPr marL="0" indent="0">
              <a:buNone/>
            </a:pPr>
            <a:endParaRPr lang="en-US" dirty="0"/>
          </a:p>
          <a:p>
            <a:pPr lvl="1">
              <a:buFont typeface="Arial" panose="020B0604020202020204" pitchFamily="34" charset="0"/>
              <a:buChar char="•"/>
            </a:pPr>
            <a:r>
              <a:rPr lang="en-US" b="0" dirty="0"/>
              <a:t>This Webinar will help understand how to develop more resilient organizations.  Expanding your view of Safety.</a:t>
            </a:r>
          </a:p>
          <a:p>
            <a:pPr marL="688086" lvl="2" indent="-285750"/>
            <a:endParaRPr lang="en-US" b="0" dirty="0"/>
          </a:p>
          <a:p>
            <a:pPr lvl="1">
              <a:buFont typeface="Arial" panose="020B0604020202020204" pitchFamily="34" charset="0"/>
              <a:buChar char="•"/>
            </a:pPr>
            <a:r>
              <a:rPr lang="en-US" b="0" dirty="0"/>
              <a:t>Pete and Matt will discuss how systems and processes foster organizational excellence, and how you can begin to transform your own organization. </a:t>
            </a:r>
          </a:p>
          <a:p>
            <a:pPr lvl="2"/>
            <a:endParaRPr lang="en-US" b="0" dirty="0"/>
          </a:p>
          <a:p>
            <a:pPr lvl="1">
              <a:buFont typeface="Arial" panose="020B0604020202020204" pitchFamily="34" charset="0"/>
              <a:buChar char="•"/>
            </a:pPr>
            <a:r>
              <a:rPr lang="en-US" b="0" dirty="0"/>
              <a:t>You can’t manage what you don’t understand, and HOP principles help you peel back the layers to begin the work of understanding.</a:t>
            </a:r>
          </a:p>
          <a:p>
            <a:pPr lvl="2"/>
            <a:endParaRPr lang="en-US" dirty="0"/>
          </a:p>
          <a:p>
            <a:pPr lvl="1"/>
            <a:endParaRPr lang="en-US" dirty="0"/>
          </a:p>
          <a:p>
            <a:pPr lvl="1"/>
            <a:endParaRPr lang="en-US" dirty="0"/>
          </a:p>
          <a:p>
            <a:pPr lvl="1"/>
            <a:endParaRPr lang="en-US" dirty="0"/>
          </a:p>
          <a:p>
            <a:pPr lvl="1"/>
            <a:endParaRPr lang="en-US" dirty="0"/>
          </a:p>
        </p:txBody>
      </p:sp>
      <p:sp>
        <p:nvSpPr>
          <p:cNvPr id="3" name="Title 2">
            <a:extLst>
              <a:ext uri="{FF2B5EF4-FFF2-40B4-BE49-F238E27FC236}">
                <a16:creationId xmlns:a16="http://schemas.microsoft.com/office/drawing/2014/main" id="{4A342465-4FD6-ABFF-7DA7-8C4125D2D8C8}"/>
              </a:ext>
            </a:extLst>
          </p:cNvPr>
          <p:cNvSpPr>
            <a:spLocks noGrp="1"/>
          </p:cNvSpPr>
          <p:nvPr>
            <p:ph type="title"/>
          </p:nvPr>
        </p:nvSpPr>
        <p:spPr/>
        <p:txBody>
          <a:bodyPr>
            <a:normAutofit/>
          </a:bodyPr>
          <a:lstStyle/>
          <a:p>
            <a:r>
              <a:rPr lang="en-US" dirty="0"/>
              <a:t>agenda</a:t>
            </a:r>
          </a:p>
        </p:txBody>
      </p:sp>
      <p:sp>
        <p:nvSpPr>
          <p:cNvPr id="4" name="Text Placeholder 3">
            <a:extLst>
              <a:ext uri="{FF2B5EF4-FFF2-40B4-BE49-F238E27FC236}">
                <a16:creationId xmlns:a16="http://schemas.microsoft.com/office/drawing/2014/main" id="{EF98CB06-DD54-5BF3-C30F-83E1D55AA29B}"/>
              </a:ext>
            </a:extLst>
          </p:cNvPr>
          <p:cNvSpPr>
            <a:spLocks noGrp="1"/>
          </p:cNvSpPr>
          <p:nvPr>
            <p:ph type="body" sz="quarter" idx="15"/>
          </p:nvPr>
        </p:nvSpPr>
        <p:spPr>
          <a:solidFill>
            <a:srgbClr val="00B0F0"/>
          </a:solidFill>
        </p:spPr>
        <p:txBody>
          <a:bodyPr/>
          <a:lstStyle/>
          <a:p>
            <a:r>
              <a:rPr lang="en-US" sz="1400" dirty="0"/>
              <a:t>You cannot change the human condition, but you can change the conditions in which humans work.</a:t>
            </a:r>
          </a:p>
        </p:txBody>
      </p:sp>
      <p:pic>
        <p:nvPicPr>
          <p:cNvPr id="6" name="Picture 5">
            <a:extLst>
              <a:ext uri="{FF2B5EF4-FFF2-40B4-BE49-F238E27FC236}">
                <a16:creationId xmlns:a16="http://schemas.microsoft.com/office/drawing/2014/main" id="{958FEBE8-877B-026B-1A60-B202849FD999}"/>
              </a:ext>
            </a:extLst>
          </p:cNvPr>
          <p:cNvPicPr>
            <a:picLocks noChangeAspect="1"/>
          </p:cNvPicPr>
          <p:nvPr/>
        </p:nvPicPr>
        <p:blipFill>
          <a:blip r:embed="rId2"/>
          <a:stretch>
            <a:fillRect/>
          </a:stretch>
        </p:blipFill>
        <p:spPr>
          <a:xfrm>
            <a:off x="10610288" y="0"/>
            <a:ext cx="1581712" cy="1301086"/>
          </a:xfrm>
          <a:prstGeom prst="rect">
            <a:avLst/>
          </a:prstGeom>
        </p:spPr>
      </p:pic>
    </p:spTree>
    <p:extLst>
      <p:ext uri="{BB962C8B-B14F-4D97-AF65-F5344CB8AC3E}">
        <p14:creationId xmlns:p14="http://schemas.microsoft.com/office/powerpoint/2010/main" val="1717141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Blame is incompatible with safety</a:t>
            </a:r>
          </a:p>
        </p:txBody>
      </p:sp>
      <p:pic>
        <p:nvPicPr>
          <p:cNvPr id="13" name="Picture 12">
            <a:extLst>
              <a:ext uri="{FF2B5EF4-FFF2-40B4-BE49-F238E27FC236}">
                <a16:creationId xmlns:a16="http://schemas.microsoft.com/office/drawing/2014/main" id="{6EAEC0F2-CECF-58FD-BB87-B6E5F6944A80}"/>
              </a:ext>
            </a:extLst>
          </p:cNvPr>
          <p:cNvPicPr>
            <a:picLocks noChangeAspect="1"/>
          </p:cNvPicPr>
          <p:nvPr/>
        </p:nvPicPr>
        <p:blipFill rotWithShape="1">
          <a:blip r:embed="rId3"/>
          <a:srcRect t="12155"/>
          <a:stretch/>
        </p:blipFill>
        <p:spPr>
          <a:xfrm>
            <a:off x="1059751" y="1182742"/>
            <a:ext cx="10072498" cy="480765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82342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EB9A174C-2BF3-4C39-A295-0C881693A6BD}"/>
              </a:ext>
            </a:extLst>
          </p:cNvPr>
          <p:cNvSpPr>
            <a:spLocks noGrp="1"/>
          </p:cNvSpPr>
          <p:nvPr>
            <p:ph type="body" sz="quarter" idx="13"/>
          </p:nvPr>
        </p:nvSpPr>
        <p:spPr>
          <a:xfrm>
            <a:off x="559339" y="1601448"/>
            <a:ext cx="10292881" cy="3090820"/>
          </a:xfrm>
        </p:spPr>
        <p:txBody>
          <a:bodyPr/>
          <a:lstStyle/>
          <a:p>
            <a:r>
              <a:rPr lang="en-US" dirty="0"/>
              <a:t>Workers don’t make bad choices, they are given bad options</a:t>
            </a:r>
          </a:p>
          <a:p>
            <a:r>
              <a:rPr lang="en-US" dirty="0"/>
              <a:t>People do what they do because it made sense at the time, with the information they had</a:t>
            </a:r>
          </a:p>
          <a:p>
            <a:pPr lvl="1"/>
            <a:endParaRPr lang="en-US" dirty="0"/>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Context drives behavior</a:t>
            </a:r>
          </a:p>
        </p:txBody>
      </p:sp>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5"/>
          </p:nvPr>
        </p:nvSpPr>
        <p:spPr>
          <a:xfrm>
            <a:off x="127854" y="1135765"/>
            <a:ext cx="10820400" cy="279179"/>
          </a:xfrm>
          <a:solidFill>
            <a:schemeClr val="bg1"/>
          </a:solidFill>
        </p:spPr>
        <p:txBody>
          <a:bodyPr/>
          <a:lstStyle/>
          <a:p>
            <a:pPr algn="l"/>
            <a:r>
              <a:rPr lang="en-US" sz="1800" dirty="0">
                <a:solidFill>
                  <a:schemeClr val="tx2"/>
                </a:solidFill>
              </a:rPr>
              <a:t>HOP Principle #3</a:t>
            </a:r>
          </a:p>
        </p:txBody>
      </p:sp>
      <p:pic>
        <p:nvPicPr>
          <p:cNvPr id="2" name="Picture 1">
            <a:extLst>
              <a:ext uri="{FF2B5EF4-FFF2-40B4-BE49-F238E27FC236}">
                <a16:creationId xmlns:a16="http://schemas.microsoft.com/office/drawing/2014/main" id="{85F32CB1-C592-4A6E-8836-6A878C2190D4}"/>
              </a:ext>
            </a:extLst>
          </p:cNvPr>
          <p:cNvPicPr>
            <a:picLocks noChangeAspect="1"/>
          </p:cNvPicPr>
          <p:nvPr/>
        </p:nvPicPr>
        <p:blipFill>
          <a:blip r:embed="rId3"/>
          <a:stretch>
            <a:fillRect/>
          </a:stretch>
        </p:blipFill>
        <p:spPr>
          <a:xfrm>
            <a:off x="6567676" y="2822310"/>
            <a:ext cx="5435532" cy="3224398"/>
          </a:xfrm>
          <a:prstGeom prst="rect">
            <a:avLst/>
          </a:prstGeom>
        </p:spPr>
      </p:pic>
      <p:sp>
        <p:nvSpPr>
          <p:cNvPr id="9" name="TextBox 8">
            <a:extLst>
              <a:ext uri="{FF2B5EF4-FFF2-40B4-BE49-F238E27FC236}">
                <a16:creationId xmlns:a16="http://schemas.microsoft.com/office/drawing/2014/main" id="{1050628E-302E-E1AF-BB93-00E2068DC91E}"/>
              </a:ext>
            </a:extLst>
          </p:cNvPr>
          <p:cNvSpPr txBox="1"/>
          <p:nvPr/>
        </p:nvSpPr>
        <p:spPr>
          <a:xfrm>
            <a:off x="463304" y="3027199"/>
            <a:ext cx="6104372" cy="2431435"/>
          </a:xfrm>
          <a:prstGeom prst="rect">
            <a:avLst/>
          </a:prstGeom>
          <a:noFill/>
        </p:spPr>
        <p:txBody>
          <a:bodyPr wrap="square">
            <a:spAutoFit/>
          </a:bodyPr>
          <a:lstStyle/>
          <a:p>
            <a:pPr marL="219456" marR="0" lvl="0" indent="-219456" algn="l" defTabSz="914400" rtl="0" eaLnBrk="1" fontAlgn="auto" latinLnBrk="0" hangingPunct="1">
              <a:lnSpc>
                <a:spcPct val="100000"/>
              </a:lnSpc>
              <a:spcBef>
                <a:spcPts val="0"/>
              </a:spcBef>
              <a:spcAft>
                <a:spcPts val="600"/>
              </a:spcAft>
              <a:buClr>
                <a:srgbClr val="CE1126"/>
              </a:buClr>
              <a:buSzPct val="75000"/>
              <a:buFont typeface="Arial" panose="020B0604020202020204" pitchFamily="34" charset="0"/>
              <a:buChar char="•"/>
              <a:tabLst/>
              <a:defRPr/>
            </a:pPr>
            <a:r>
              <a:rPr kumimoji="0" lang="en-US" sz="2200" b="0" i="0" u="none" strike="noStrike" kern="1200" cap="none" spc="0" normalizeH="0" baseline="0" noProof="0" dirty="0">
                <a:ln>
                  <a:noFill/>
                </a:ln>
                <a:solidFill>
                  <a:srgbClr val="000000"/>
                </a:solidFill>
                <a:effectLst/>
                <a:uLnTx/>
                <a:uFillTx/>
                <a:latin typeface="Arial"/>
                <a:ea typeface="+mn-ea"/>
                <a:cs typeface="+mn-cs"/>
              </a:rPr>
              <a:t>Do not say could’ve, should’ve, would’ve</a:t>
            </a:r>
          </a:p>
          <a:p>
            <a:pPr marL="438912" marR="0" lvl="1" indent="-219456" algn="l" defTabSz="914400" rtl="0" eaLnBrk="1" fontAlgn="auto" latinLnBrk="0" hangingPunct="1">
              <a:lnSpc>
                <a:spcPct val="100000"/>
              </a:lnSpc>
              <a:spcBef>
                <a:spcPts val="0"/>
              </a:spcBef>
              <a:spcAft>
                <a:spcPts val="600"/>
              </a:spcAft>
              <a:buClr>
                <a:srgbClr val="63666A"/>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Instead, ‘get in the tunnel’ with the employee and learn to understand the situation from their perspective</a:t>
            </a:r>
          </a:p>
          <a:p>
            <a:pPr marL="438912" marR="0" lvl="1" indent="-219456" algn="l" defTabSz="914400" rtl="0" eaLnBrk="1" fontAlgn="auto" latinLnBrk="0" hangingPunct="1">
              <a:lnSpc>
                <a:spcPct val="100000"/>
              </a:lnSpc>
              <a:spcBef>
                <a:spcPts val="0"/>
              </a:spcBef>
              <a:spcAft>
                <a:spcPts val="600"/>
              </a:spcAft>
              <a:buClr>
                <a:srgbClr val="63666A"/>
              </a:buClr>
              <a:buSzPct val="100000"/>
              <a:buFont typeface="Arial" panose="020B0604020202020204" pitchFamily="34" charset="0"/>
              <a:buChar char="–"/>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Then ask; how do we change the system so that people are not forced to make these tough decisions</a:t>
            </a:r>
          </a:p>
        </p:txBody>
      </p:sp>
      <p:pic>
        <p:nvPicPr>
          <p:cNvPr id="6" name="Picture 5">
            <a:extLst>
              <a:ext uri="{FF2B5EF4-FFF2-40B4-BE49-F238E27FC236}">
                <a16:creationId xmlns:a16="http://schemas.microsoft.com/office/drawing/2014/main" id="{1B298965-8ABE-888D-02C0-C0C2105B698E}"/>
              </a:ext>
            </a:extLst>
          </p:cNvPr>
          <p:cNvPicPr>
            <a:picLocks noChangeAspect="1"/>
          </p:cNvPicPr>
          <p:nvPr/>
        </p:nvPicPr>
        <p:blipFill>
          <a:blip r:embed="rId4"/>
          <a:stretch>
            <a:fillRect/>
          </a:stretch>
        </p:blipFill>
        <p:spPr>
          <a:xfrm>
            <a:off x="9802511" y="79278"/>
            <a:ext cx="2291487" cy="17031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82798090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Local rationality</a:t>
            </a:r>
          </a:p>
        </p:txBody>
      </p:sp>
      <p:pic>
        <p:nvPicPr>
          <p:cNvPr id="6" name="Picture 5">
            <a:extLst>
              <a:ext uri="{FF2B5EF4-FFF2-40B4-BE49-F238E27FC236}">
                <a16:creationId xmlns:a16="http://schemas.microsoft.com/office/drawing/2014/main" id="{A6E2BF09-9D8B-440D-85CE-A1931D007D3D}"/>
              </a:ext>
            </a:extLst>
          </p:cNvPr>
          <p:cNvPicPr>
            <a:picLocks noChangeAspect="1"/>
          </p:cNvPicPr>
          <p:nvPr/>
        </p:nvPicPr>
        <p:blipFill>
          <a:blip r:embed="rId3"/>
          <a:stretch>
            <a:fillRect/>
          </a:stretch>
        </p:blipFill>
        <p:spPr>
          <a:xfrm>
            <a:off x="1506366" y="1241829"/>
            <a:ext cx="9179267" cy="4207164"/>
          </a:xfrm>
          <a:prstGeom prst="rect">
            <a:avLst/>
          </a:prstGeom>
        </p:spPr>
      </p:pic>
    </p:spTree>
    <p:extLst>
      <p:ext uri="{BB962C8B-B14F-4D97-AF65-F5344CB8AC3E}">
        <p14:creationId xmlns:p14="http://schemas.microsoft.com/office/powerpoint/2010/main" val="40621015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8898501C-EA81-BFE3-78F5-C1F8023CB501}"/>
              </a:ext>
            </a:extLst>
          </p:cNvPr>
          <p:cNvSpPr>
            <a:spLocks noGrp="1"/>
          </p:cNvSpPr>
          <p:nvPr>
            <p:ph type="body" sz="quarter" idx="13"/>
          </p:nvPr>
        </p:nvSpPr>
        <p:spPr>
          <a:xfrm>
            <a:off x="694944" y="5912568"/>
            <a:ext cx="10820399" cy="273280"/>
          </a:xfrm>
        </p:spPr>
        <p:txBody>
          <a:bodyPr>
            <a:normAutofit fontScale="92500" lnSpcReduction="20000"/>
          </a:bodyPr>
          <a:lstStyle/>
          <a:p>
            <a:pPr marL="0" indent="0">
              <a:buNone/>
            </a:pPr>
            <a:r>
              <a:rPr lang="en-US" dirty="0"/>
              <a:t>We want to learn the weak points in our system so that we can building in extra capacity </a:t>
            </a:r>
          </a:p>
        </p:txBody>
      </p:sp>
      <p:sp>
        <p:nvSpPr>
          <p:cNvPr id="4" name="Title 3">
            <a:extLst>
              <a:ext uri="{FF2B5EF4-FFF2-40B4-BE49-F238E27FC236}">
                <a16:creationId xmlns:a16="http://schemas.microsoft.com/office/drawing/2014/main" id="{B7C73AD4-F65E-CF02-195A-FCF03C48E342}"/>
              </a:ext>
            </a:extLst>
          </p:cNvPr>
          <p:cNvSpPr>
            <a:spLocks noGrp="1"/>
          </p:cNvSpPr>
          <p:nvPr>
            <p:ph type="title"/>
          </p:nvPr>
        </p:nvSpPr>
        <p:spPr/>
        <p:txBody>
          <a:bodyPr>
            <a:normAutofit/>
          </a:bodyPr>
          <a:lstStyle/>
          <a:p>
            <a:r>
              <a:rPr lang="en-US" dirty="0"/>
              <a:t>Learning and improving is vital</a:t>
            </a:r>
          </a:p>
        </p:txBody>
      </p:sp>
      <p:sp>
        <p:nvSpPr>
          <p:cNvPr id="3" name="Text Placeholder 2">
            <a:extLst>
              <a:ext uri="{FF2B5EF4-FFF2-40B4-BE49-F238E27FC236}">
                <a16:creationId xmlns:a16="http://schemas.microsoft.com/office/drawing/2014/main" id="{9F189111-D218-94BB-E7D3-A12ADEB5B534}"/>
              </a:ext>
            </a:extLst>
          </p:cNvPr>
          <p:cNvSpPr>
            <a:spLocks noGrp="1"/>
          </p:cNvSpPr>
          <p:nvPr>
            <p:ph type="body" sz="quarter" idx="15"/>
          </p:nvPr>
        </p:nvSpPr>
        <p:spPr>
          <a:xfrm>
            <a:off x="93363" y="1199986"/>
            <a:ext cx="10820400" cy="445891"/>
          </a:xfrm>
          <a:noFill/>
        </p:spPr>
        <p:txBody>
          <a:bodyPr/>
          <a:lstStyle/>
          <a:p>
            <a:pPr algn="l"/>
            <a:r>
              <a:rPr lang="en-US" sz="1800" dirty="0">
                <a:solidFill>
                  <a:schemeClr val="tx2"/>
                </a:solidFill>
              </a:rPr>
              <a:t>HOP Principle #4</a:t>
            </a:r>
          </a:p>
          <a:p>
            <a:endParaRPr lang="en-US" sz="1800" dirty="0">
              <a:solidFill>
                <a:schemeClr val="tx2"/>
              </a:solidFill>
            </a:endParaRPr>
          </a:p>
        </p:txBody>
      </p:sp>
      <p:pic>
        <p:nvPicPr>
          <p:cNvPr id="8" name="Picture 7">
            <a:extLst>
              <a:ext uri="{FF2B5EF4-FFF2-40B4-BE49-F238E27FC236}">
                <a16:creationId xmlns:a16="http://schemas.microsoft.com/office/drawing/2014/main" id="{B6FC8859-D1E6-B50C-3D08-97AC6FE45B23}"/>
              </a:ext>
            </a:extLst>
          </p:cNvPr>
          <p:cNvPicPr>
            <a:picLocks noChangeAspect="1"/>
          </p:cNvPicPr>
          <p:nvPr/>
        </p:nvPicPr>
        <p:blipFill>
          <a:blip r:embed="rId2"/>
          <a:stretch>
            <a:fillRect/>
          </a:stretch>
        </p:blipFill>
        <p:spPr>
          <a:xfrm>
            <a:off x="8973043" y="1293855"/>
            <a:ext cx="2767611" cy="2025236"/>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8749AA8C-2FE6-3CDD-D80E-BAD98441B707}"/>
              </a:ext>
            </a:extLst>
          </p:cNvPr>
          <p:cNvPicPr>
            <a:picLocks noChangeAspect="1"/>
          </p:cNvPicPr>
          <p:nvPr/>
        </p:nvPicPr>
        <p:blipFill>
          <a:blip r:embed="rId3"/>
          <a:stretch>
            <a:fillRect/>
          </a:stretch>
        </p:blipFill>
        <p:spPr>
          <a:xfrm>
            <a:off x="610721" y="1876444"/>
            <a:ext cx="3824357" cy="2896055"/>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D7E6C2A7-D7DD-0A3C-A7BA-4B313CFD3BA9}"/>
              </a:ext>
            </a:extLst>
          </p:cNvPr>
          <p:cNvPicPr>
            <a:picLocks noChangeAspect="1"/>
          </p:cNvPicPr>
          <p:nvPr/>
        </p:nvPicPr>
        <p:blipFill>
          <a:blip r:embed="rId4"/>
          <a:stretch>
            <a:fillRect/>
          </a:stretch>
        </p:blipFill>
        <p:spPr>
          <a:xfrm>
            <a:off x="4686552" y="2659873"/>
            <a:ext cx="4035017" cy="293914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02834093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p:txBody>
          <a:bodyPr>
            <a:normAutofit/>
          </a:bodyPr>
          <a:lstStyle/>
          <a:p>
            <a:r>
              <a:rPr lang="en-US" spc="400" dirty="0">
                <a:solidFill>
                  <a:srgbClr val="000000"/>
                </a:solidFill>
              </a:rPr>
              <a:t>Learning and improving is vital</a:t>
            </a:r>
            <a:endParaRPr lang="en-US" dirty="0"/>
          </a:p>
        </p:txBody>
      </p:sp>
      <p:pic>
        <p:nvPicPr>
          <p:cNvPr id="8" name="Picture 7">
            <a:extLst>
              <a:ext uri="{FF2B5EF4-FFF2-40B4-BE49-F238E27FC236}">
                <a16:creationId xmlns:a16="http://schemas.microsoft.com/office/drawing/2014/main" id="{27B0EB5B-5D24-FCE8-E3DB-01CEAC6DC44B}"/>
              </a:ext>
            </a:extLst>
          </p:cNvPr>
          <p:cNvPicPr>
            <a:picLocks noChangeAspect="1"/>
          </p:cNvPicPr>
          <p:nvPr/>
        </p:nvPicPr>
        <p:blipFill>
          <a:blip r:embed="rId3"/>
          <a:stretch>
            <a:fillRect/>
          </a:stretch>
        </p:blipFill>
        <p:spPr>
          <a:xfrm>
            <a:off x="502439" y="1191126"/>
            <a:ext cx="10185084" cy="4776537"/>
          </a:xfrm>
          <a:prstGeom prst="rect">
            <a:avLst/>
          </a:prstGeom>
        </p:spPr>
      </p:pic>
    </p:spTree>
    <p:extLst>
      <p:ext uri="{BB962C8B-B14F-4D97-AF65-F5344CB8AC3E}">
        <p14:creationId xmlns:p14="http://schemas.microsoft.com/office/powerpoint/2010/main" val="18579992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4" y="514473"/>
            <a:ext cx="10811256" cy="416403"/>
          </a:xfrm>
        </p:spPr>
        <p:txBody>
          <a:bodyPr>
            <a:normAutofit fontScale="90000"/>
          </a:bodyPr>
          <a:lstStyle/>
          <a:p>
            <a:r>
              <a:rPr lang="en-US" dirty="0"/>
              <a:t>Leader’s response matters</a:t>
            </a:r>
          </a:p>
        </p:txBody>
      </p:sp>
      <p:sp>
        <p:nvSpPr>
          <p:cNvPr id="7" name="Text Placeholder 2">
            <a:extLst>
              <a:ext uri="{FF2B5EF4-FFF2-40B4-BE49-F238E27FC236}">
                <a16:creationId xmlns:a16="http://schemas.microsoft.com/office/drawing/2014/main" id="{0161B232-2FAB-4B95-A018-B88DE62F9823}"/>
              </a:ext>
            </a:extLst>
          </p:cNvPr>
          <p:cNvSpPr txBox="1">
            <a:spLocks/>
          </p:cNvSpPr>
          <p:nvPr/>
        </p:nvSpPr>
        <p:spPr>
          <a:xfrm>
            <a:off x="694944" y="1063890"/>
            <a:ext cx="10820400" cy="341632"/>
          </a:xfrm>
          <a:prstGeom prst="rect">
            <a:avLst/>
          </a:prstGeom>
          <a:noFill/>
        </p:spPr>
        <p:txBody>
          <a:bodyPr vert="horz" wrap="square" lIns="0" tIns="0" rIns="0" bIns="91440" rtlCol="0">
            <a:spAutoFit/>
          </a:bodyPr>
          <a:lstStyle>
            <a:lvl1pPr marL="0" marR="0" indent="0" algn="l" defTabSz="914400" rtl="0" eaLnBrk="1" fontAlgn="auto" latinLnBrk="0" hangingPunct="1">
              <a:lnSpc>
                <a:spcPct val="90000"/>
              </a:lnSpc>
              <a:spcBef>
                <a:spcPts val="0"/>
              </a:spcBef>
              <a:spcAft>
                <a:spcPts val="0"/>
              </a:spcAft>
              <a:buClrTx/>
              <a:buSzPct val="115000"/>
              <a:buFont typeface="Arial" panose="020B0604020202020204" pitchFamily="34" charset="0"/>
              <a:buNone/>
              <a:tabLst/>
              <a:defRPr sz="1800" b="1" kern="1200" baseline="0">
                <a:solidFill>
                  <a:srgbClr val="CE1126"/>
                </a:solidFill>
                <a:latin typeface="Arial" panose="020B0604020202020204" pitchFamily="34" charset="0"/>
                <a:ea typeface="+mn-ea"/>
                <a:cs typeface="+mn-cs"/>
              </a:defRPr>
            </a:lvl1pPr>
            <a:lvl2pPr marL="438912"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2000" kern="1200">
                <a:solidFill>
                  <a:schemeClr val="tx1"/>
                </a:solidFill>
                <a:latin typeface="+mn-lt"/>
                <a:ea typeface="+mn-ea"/>
                <a:cs typeface="+mn-cs"/>
              </a:defRPr>
            </a:lvl2pPr>
            <a:lvl3pPr marL="621792"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800" kern="1200">
                <a:solidFill>
                  <a:schemeClr val="tx1"/>
                </a:solidFill>
                <a:latin typeface="+mn-lt"/>
                <a:ea typeface="+mn-ea"/>
                <a:cs typeface="+mn-cs"/>
              </a:defRPr>
            </a:lvl3pPr>
            <a:lvl4pPr marL="841248" indent="-219456" algn="l" defTabSz="914400" rtl="0" eaLnBrk="1" latinLnBrk="0" hangingPunct="1">
              <a:lnSpc>
                <a:spcPct val="100000"/>
              </a:lnSpc>
              <a:spcBef>
                <a:spcPts val="0"/>
              </a:spcBef>
              <a:spcAft>
                <a:spcPts val="600"/>
              </a:spcAft>
              <a:buSzPct val="100000"/>
              <a:buFont typeface="Arial" panose="020B0604020202020204" pitchFamily="34" charset="0"/>
              <a:buChar char="–"/>
              <a:defRPr sz="1600" kern="1200">
                <a:solidFill>
                  <a:schemeClr val="tx1"/>
                </a:solidFill>
                <a:latin typeface="+mn-lt"/>
                <a:ea typeface="+mn-ea"/>
                <a:cs typeface="+mn-cs"/>
              </a:defRPr>
            </a:lvl4pPr>
            <a:lvl5pPr marL="1060704" indent="-219456" algn="l" defTabSz="914400" rtl="0" eaLnBrk="1" latinLnBrk="0" hangingPunct="1">
              <a:lnSpc>
                <a:spcPct val="100000"/>
              </a:lnSpc>
              <a:spcBef>
                <a:spcPts val="0"/>
              </a:spcBef>
              <a:spcAft>
                <a:spcPts val="600"/>
              </a:spcAft>
              <a:buClr>
                <a:schemeClr val="tx2"/>
              </a:buClr>
              <a:buSzPct val="75000"/>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P Principle #5</a:t>
            </a:r>
          </a:p>
        </p:txBody>
      </p:sp>
      <p:sp>
        <p:nvSpPr>
          <p:cNvPr id="8" name="TextBox 7">
            <a:extLst>
              <a:ext uri="{FF2B5EF4-FFF2-40B4-BE49-F238E27FC236}">
                <a16:creationId xmlns:a16="http://schemas.microsoft.com/office/drawing/2014/main" id="{63ADB26D-8C33-7D14-F596-B21B69D4D905}"/>
              </a:ext>
            </a:extLst>
          </p:cNvPr>
          <p:cNvSpPr txBox="1"/>
          <p:nvPr/>
        </p:nvSpPr>
        <p:spPr>
          <a:xfrm>
            <a:off x="567442" y="1586000"/>
            <a:ext cx="10802111" cy="3370153"/>
          </a:xfrm>
          <a:prstGeom prst="rect">
            <a:avLst/>
          </a:prstGeom>
          <a:noFill/>
        </p:spPr>
        <p:txBody>
          <a:bodyPr wrap="square">
            <a:spAutoFit/>
          </a:bodyPr>
          <a:lstStyle/>
          <a:p>
            <a:pPr marR="0" lvl="0">
              <a:spcBef>
                <a:spcPts val="0"/>
              </a:spcBef>
              <a:spcAft>
                <a:spcPts val="0"/>
              </a:spcAft>
            </a:pPr>
            <a:r>
              <a:rPr lang="en-US" sz="2000" b="1" dirty="0">
                <a:latin typeface="Calibri" panose="020F0502020204030204" pitchFamily="34" charset="0"/>
                <a:ea typeface="Times New Roman" panose="02020603050405020304" pitchFamily="18" charset="0"/>
              </a:rPr>
              <a:t>Nine Things Managers Should Ask First </a:t>
            </a:r>
            <a:r>
              <a:rPr lang="en-US" sz="2000" b="1" i="1" dirty="0">
                <a:latin typeface="Calibri" panose="020F0502020204030204" pitchFamily="34" charset="0"/>
                <a:ea typeface="Times New Roman" panose="02020603050405020304" pitchFamily="18" charset="0"/>
              </a:rPr>
              <a:t>and in Order </a:t>
            </a:r>
            <a:r>
              <a:rPr lang="en-US" sz="2000" b="1" dirty="0">
                <a:latin typeface="Calibri" panose="020F0502020204030204" pitchFamily="34" charset="0"/>
                <a:ea typeface="Times New Roman" panose="02020603050405020304" pitchFamily="18" charset="0"/>
              </a:rPr>
              <a:t>When They are Notified that Something Unexpected Happened</a:t>
            </a:r>
            <a:endParaRPr lang="en-US" sz="2000" b="1"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mj-lt"/>
              <a:buAutoNum type="arabicPeriod"/>
            </a:pPr>
            <a:endParaRPr lang="en-US" sz="1100" b="1" dirty="0">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Your response to an event matters!</a:t>
            </a:r>
          </a:p>
          <a:p>
            <a:pPr marL="342900" marR="0" lvl="0" indent="-342900">
              <a:spcBef>
                <a:spcPts val="0"/>
              </a:spcBef>
              <a:spcAft>
                <a:spcPts val="0"/>
              </a:spcAft>
              <a:buFont typeface="+mj-lt"/>
              <a:buAutoNum type="arabicPeriod"/>
            </a:pPr>
            <a:r>
              <a:rPr lang="en-US" dirty="0">
                <a:latin typeface="Calibri" panose="020F0502020204030204" pitchFamily="34" charset="0"/>
                <a:ea typeface="Times New Roman" panose="02020603050405020304" pitchFamily="18" charset="0"/>
              </a:rPr>
              <a:t>Are the people OK?</a:t>
            </a:r>
          </a:p>
          <a:p>
            <a:pPr marL="342900" marR="0" lvl="0" indent="-342900">
              <a:spcBef>
                <a:spcPts val="0"/>
              </a:spcBef>
              <a:spcAft>
                <a:spcPts val="0"/>
              </a:spcAft>
              <a:buFont typeface="+mj-lt"/>
              <a:buAutoNum type="arabicPeriod"/>
            </a:pPr>
            <a:r>
              <a:rPr lang="en-US" dirty="0">
                <a:latin typeface="Calibri" panose="020F0502020204030204" pitchFamily="34" charset="0"/>
                <a:ea typeface="Times New Roman" panose="02020603050405020304" pitchFamily="18" charset="0"/>
              </a:rPr>
              <a:t>Is the facility safe, secure, and stable?</a:t>
            </a:r>
            <a:endParaRPr lang="en-US" dirty="0">
              <a:effectLst/>
              <a:latin typeface="Calibri" panose="020F0502020204030204" pitchFamily="34" charset="0"/>
              <a:ea typeface="Times New Roman" panose="02020603050405020304" pitchFamily="18" charset="0"/>
            </a:endParaRP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Tell me the </a:t>
            </a:r>
            <a:r>
              <a:rPr lang="en-US" i="1" dirty="0">
                <a:effectLst/>
                <a:latin typeface="Calibri" panose="020F0502020204030204" pitchFamily="34" charset="0"/>
                <a:ea typeface="Times New Roman" panose="02020603050405020304" pitchFamily="18" charset="0"/>
              </a:rPr>
              <a:t>story</a:t>
            </a:r>
            <a:r>
              <a:rPr lang="en-US" dirty="0">
                <a:effectLst/>
                <a:latin typeface="Calibri" panose="020F0502020204030204" pitchFamily="34" charset="0"/>
                <a:ea typeface="Times New Roman" panose="02020603050405020304" pitchFamily="18" charset="0"/>
              </a:rPr>
              <a:t> of what happened.</a:t>
            </a: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What could have happened?</a:t>
            </a: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What factors led up to this event?</a:t>
            </a: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What worked well? What did not work well?</a:t>
            </a: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Where else could this happen?</a:t>
            </a:r>
          </a:p>
          <a:p>
            <a:pPr marL="342900" marR="0" lvl="0" indent="-342900">
              <a:spcBef>
                <a:spcPts val="0"/>
              </a:spcBef>
              <a:spcAft>
                <a:spcPts val="0"/>
              </a:spcAft>
              <a:buFont typeface="+mj-lt"/>
              <a:buAutoNum type="arabicPeriod"/>
            </a:pPr>
            <a:r>
              <a:rPr lang="en-US" dirty="0">
                <a:effectLst/>
                <a:latin typeface="Calibri" panose="020F0502020204030204" pitchFamily="34" charset="0"/>
                <a:ea typeface="Times New Roman" panose="02020603050405020304" pitchFamily="18" charset="0"/>
              </a:rPr>
              <a:t>What else do I need to know about this event?</a:t>
            </a:r>
            <a:endParaRPr lang="en-US" dirty="0">
              <a:effectLst/>
              <a:latin typeface="Calibri" panose="020F0502020204030204" pitchFamily="34" charset="0"/>
              <a:ea typeface="Calibri" panose="020F0502020204030204" pitchFamily="34" charset="0"/>
            </a:endParaRPr>
          </a:p>
        </p:txBody>
      </p:sp>
      <p:pic>
        <p:nvPicPr>
          <p:cNvPr id="10" name="Picture 9">
            <a:extLst>
              <a:ext uri="{FF2B5EF4-FFF2-40B4-BE49-F238E27FC236}">
                <a16:creationId xmlns:a16="http://schemas.microsoft.com/office/drawing/2014/main" id="{79BEA319-0F18-8C48-7640-653FC9EE74FB}"/>
              </a:ext>
            </a:extLst>
          </p:cNvPr>
          <p:cNvPicPr>
            <a:picLocks noChangeAspect="1"/>
          </p:cNvPicPr>
          <p:nvPr/>
        </p:nvPicPr>
        <p:blipFill>
          <a:blip r:embed="rId3"/>
          <a:stretch>
            <a:fillRect/>
          </a:stretch>
        </p:blipFill>
        <p:spPr>
          <a:xfrm>
            <a:off x="6096000" y="2311787"/>
            <a:ext cx="5128064" cy="2297520"/>
          </a:xfrm>
          <a:prstGeom prst="rect">
            <a:avLst/>
          </a:prstGeom>
          <a:ln>
            <a:noFill/>
          </a:ln>
          <a:effectLst>
            <a:outerShdw blurRad="292100" dist="139700" dir="2700000" algn="tl" rotWithShape="0">
              <a:srgbClr val="333333">
                <a:alpha val="65000"/>
              </a:srgbClr>
            </a:outerShdw>
          </a:effectLst>
        </p:spPr>
      </p:pic>
      <p:sp>
        <p:nvSpPr>
          <p:cNvPr id="12" name="TextBox 11">
            <a:extLst>
              <a:ext uri="{FF2B5EF4-FFF2-40B4-BE49-F238E27FC236}">
                <a16:creationId xmlns:a16="http://schemas.microsoft.com/office/drawing/2014/main" id="{4D1B60A7-84ED-078B-9CDD-98D7C9A2D7AD}"/>
              </a:ext>
            </a:extLst>
          </p:cNvPr>
          <p:cNvSpPr txBox="1"/>
          <p:nvPr/>
        </p:nvSpPr>
        <p:spPr>
          <a:xfrm>
            <a:off x="567442" y="5325630"/>
            <a:ext cx="11126036" cy="8309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200" i="1" dirty="0"/>
              <a:t>Leaders or Managers should know this little but important fact.  The way they react or respond to an operational failure matters – and it matters a lot.  Coach, counsel, and press your leaders into knowing that they play an enormous role in event learning, and organizational culture.</a:t>
            </a:r>
          </a:p>
          <a:p>
            <a:endParaRPr lang="en-US" sz="1200" i="1" dirty="0"/>
          </a:p>
          <a:p>
            <a:r>
              <a:rPr lang="en-US" sz="1200" i="1" dirty="0"/>
              <a:t>These nine things remind managers to be aware of both their reactions and responses; it suggests some better alternatives to ask when confronted with an event.</a:t>
            </a:r>
          </a:p>
        </p:txBody>
      </p:sp>
    </p:spTree>
    <p:extLst>
      <p:ext uri="{BB962C8B-B14F-4D97-AF65-F5344CB8AC3E}">
        <p14:creationId xmlns:p14="http://schemas.microsoft.com/office/powerpoint/2010/main" val="286133241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31B6918-3417-C24F-BBFF-94685A297AF7}"/>
              </a:ext>
            </a:extLst>
          </p:cNvPr>
          <p:cNvSpPr>
            <a:spLocks noGrp="1"/>
          </p:cNvSpPr>
          <p:nvPr>
            <p:ph type="body" sz="quarter" idx="17"/>
          </p:nvPr>
        </p:nvSpPr>
        <p:spPr>
          <a:xfrm>
            <a:off x="694943" y="1191127"/>
            <a:ext cx="10820400" cy="350930"/>
          </a:xfrm>
        </p:spPr>
        <p:txBody>
          <a:bodyPr/>
          <a:lstStyle/>
          <a:p>
            <a:r>
              <a:rPr lang="en-US" sz="1867" dirty="0">
                <a:solidFill>
                  <a:srgbClr val="002060"/>
                </a:solidFill>
              </a:rPr>
              <a:t>Summary</a:t>
            </a:r>
          </a:p>
        </p:txBody>
      </p:sp>
      <p:sp>
        <p:nvSpPr>
          <p:cNvPr id="5" name="Title 4">
            <a:extLst>
              <a:ext uri="{FF2B5EF4-FFF2-40B4-BE49-F238E27FC236}">
                <a16:creationId xmlns:a16="http://schemas.microsoft.com/office/drawing/2014/main" id="{98D796C7-1018-8042-B034-2EA954603515}"/>
              </a:ext>
            </a:extLst>
          </p:cNvPr>
          <p:cNvSpPr>
            <a:spLocks noGrp="1"/>
          </p:cNvSpPr>
          <p:nvPr>
            <p:ph type="title"/>
          </p:nvPr>
        </p:nvSpPr>
        <p:spPr>
          <a:xfrm>
            <a:off x="694943" y="514474"/>
            <a:ext cx="11210729" cy="676653"/>
          </a:xfrm>
        </p:spPr>
        <p:txBody>
          <a:bodyPr/>
          <a:lstStyle/>
          <a:p>
            <a:r>
              <a:rPr lang="en-US" spc="400" dirty="0">
                <a:solidFill>
                  <a:srgbClr val="000000"/>
                </a:solidFill>
              </a:rPr>
              <a:t>Human and organizational performance</a:t>
            </a:r>
            <a:endParaRPr lang="en-US" dirty="0"/>
          </a:p>
        </p:txBody>
      </p:sp>
      <p:sp>
        <p:nvSpPr>
          <p:cNvPr id="4" name="Footer Placeholder 3">
            <a:extLst>
              <a:ext uri="{FF2B5EF4-FFF2-40B4-BE49-F238E27FC236}">
                <a16:creationId xmlns:a16="http://schemas.microsoft.com/office/drawing/2014/main" id="{11ACFB72-5798-5C4D-A4CE-8E0DB3912C49}"/>
              </a:ext>
            </a:extLst>
          </p:cNvPr>
          <p:cNvSpPr>
            <a:spLocks noGrp="1"/>
          </p:cNvSpPr>
          <p:nvPr>
            <p:ph type="ftr" sz="quarter" idx="18"/>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000000"/>
                </a:solidFill>
                <a:effectLst/>
                <a:uLnTx/>
                <a:uFillTx/>
                <a:latin typeface="Arial"/>
                <a:ea typeface="+mn-ea"/>
                <a:cs typeface="DIN-Light"/>
              </a:rPr>
              <a:t>© 2022 Collins Aerospace.  | Collins Aerospace Proprietary.  |  This document does not include any export controlled technical data.</a:t>
            </a:r>
            <a:endParaRPr kumimoji="0" lang="en-US" sz="600" b="0" i="0" u="none" strike="noStrike" kern="1200" cap="none" spc="0" normalizeH="0" baseline="0" noProof="0" dirty="0">
              <a:ln>
                <a:noFill/>
              </a:ln>
              <a:solidFill>
                <a:srgbClr val="000000"/>
              </a:solidFill>
              <a:effectLst/>
              <a:uLnTx/>
              <a:uFillTx/>
              <a:latin typeface="Arial"/>
              <a:ea typeface="+mn-ea"/>
              <a:cs typeface="+mn-cs"/>
            </a:endParaRPr>
          </a:p>
        </p:txBody>
      </p:sp>
      <p:sp>
        <p:nvSpPr>
          <p:cNvPr id="7" name="Text Placeholder 6">
            <a:extLst>
              <a:ext uri="{FF2B5EF4-FFF2-40B4-BE49-F238E27FC236}">
                <a16:creationId xmlns:a16="http://schemas.microsoft.com/office/drawing/2014/main" id="{517BBA57-629F-45A9-BCF2-DECD6711BEF7}"/>
              </a:ext>
            </a:extLst>
          </p:cNvPr>
          <p:cNvSpPr>
            <a:spLocks noGrp="1"/>
          </p:cNvSpPr>
          <p:nvPr>
            <p:ph type="body" sz="quarter" idx="13"/>
          </p:nvPr>
        </p:nvSpPr>
        <p:spPr>
          <a:xfrm>
            <a:off x="694943" y="1580147"/>
            <a:ext cx="11210729" cy="3782799"/>
          </a:xfrm>
        </p:spPr>
        <p:txBody>
          <a:bodyPr/>
          <a:lstStyle/>
          <a:p>
            <a:pPr marL="243834" indent="-243834">
              <a:lnSpc>
                <a:spcPct val="200000"/>
              </a:lnSpc>
            </a:pPr>
            <a:r>
              <a:rPr lang="en-US" sz="1800" dirty="0"/>
              <a:t>Error is normal, people make mistakes</a:t>
            </a:r>
          </a:p>
          <a:p>
            <a:pPr marL="243834" indent="-243834">
              <a:lnSpc>
                <a:spcPct val="200000"/>
              </a:lnSpc>
            </a:pPr>
            <a:r>
              <a:rPr lang="en-US" sz="1800" dirty="0"/>
              <a:t>Learning is vital - Improvement happens through learning to help us improve our systems</a:t>
            </a:r>
          </a:p>
          <a:p>
            <a:pPr marL="243834" indent="-243834">
              <a:lnSpc>
                <a:spcPct val="200000"/>
              </a:lnSpc>
            </a:pPr>
            <a:r>
              <a:rPr lang="en-US" sz="1800" dirty="0"/>
              <a:t>Blame fixes nothing</a:t>
            </a:r>
          </a:p>
          <a:p>
            <a:pPr marL="243834" indent="-243834">
              <a:lnSpc>
                <a:spcPct val="200000"/>
              </a:lnSpc>
            </a:pPr>
            <a:r>
              <a:rPr lang="en-US" sz="1800" dirty="0"/>
              <a:t>Work isn’t always accomplished the way we think – </a:t>
            </a:r>
            <a:r>
              <a:rPr lang="en-US" sz="1800" b="1" dirty="0">
                <a:solidFill>
                  <a:srgbClr val="3399FF"/>
                </a:solidFill>
              </a:rPr>
              <a:t>BLUE LINE IS ALWAYS ADAPTING</a:t>
            </a:r>
          </a:p>
          <a:p>
            <a:pPr marL="243834" indent="-243834">
              <a:lnSpc>
                <a:spcPct val="200000"/>
              </a:lnSpc>
            </a:pPr>
            <a:r>
              <a:rPr lang="en-US" sz="1800" b="1" dirty="0"/>
              <a:t>LEARN</a:t>
            </a:r>
            <a:r>
              <a:rPr lang="en-US" sz="1800" dirty="0"/>
              <a:t> how the “context of work” may have influenced the “employee mindset” </a:t>
            </a:r>
          </a:p>
          <a:p>
            <a:pPr marL="243834" indent="-243834">
              <a:lnSpc>
                <a:spcPct val="200000"/>
              </a:lnSpc>
            </a:pPr>
            <a:r>
              <a:rPr lang="en-US" sz="1800" dirty="0"/>
              <a:t>Human error and employee decisions may be a symptom of trouble deeper inside our system </a:t>
            </a:r>
          </a:p>
          <a:p>
            <a:pPr marL="243834" indent="-243834">
              <a:lnSpc>
                <a:spcPct val="200000"/>
              </a:lnSpc>
            </a:pPr>
            <a:r>
              <a:rPr lang="en-US" sz="1800" dirty="0"/>
              <a:t>Be less surprised by human error and failure...and become a lot more interested in learning…..</a:t>
            </a:r>
          </a:p>
          <a:p>
            <a:pPr marL="146300" lvl="1" indent="0">
              <a:buNone/>
            </a:pPr>
            <a:endParaRPr lang="en-US" sz="1800" dirty="0"/>
          </a:p>
        </p:txBody>
      </p:sp>
    </p:spTree>
    <p:extLst>
      <p:ext uri="{BB962C8B-B14F-4D97-AF65-F5344CB8AC3E}">
        <p14:creationId xmlns:p14="http://schemas.microsoft.com/office/powerpoint/2010/main" val="20632953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6F0F2FA-C95F-0D72-6043-9EFEC72E1B2E}"/>
              </a:ext>
            </a:extLst>
          </p:cNvPr>
          <p:cNvSpPr/>
          <p:nvPr/>
        </p:nvSpPr>
        <p:spPr>
          <a:xfrm>
            <a:off x="6235328" y="2031554"/>
            <a:ext cx="5108369" cy="3477875"/>
          </a:xfrm>
          <a:prstGeom prst="rect">
            <a:avLst/>
          </a:prstGeom>
        </p:spPr>
        <p:txBody>
          <a:bodyPr wrap="square">
            <a:spAutoFit/>
          </a:bodyPr>
          <a:lstStyle/>
          <a:p>
            <a:r>
              <a:rPr lang="en-US" sz="2000" dirty="0">
                <a:solidFill>
                  <a:sysClr val="windowText" lastClr="000000"/>
                </a:solidFill>
                <a:latin typeface="Arial"/>
              </a:rPr>
              <a:t>Peter Susca, Principal</a:t>
            </a:r>
            <a:br>
              <a:rPr lang="en-US" sz="2000" dirty="0">
                <a:solidFill>
                  <a:sysClr val="windowText" lastClr="000000"/>
                </a:solidFill>
                <a:latin typeface="Arial"/>
              </a:rPr>
            </a:br>
            <a:r>
              <a:rPr lang="en-US" sz="2000" dirty="0">
                <a:solidFill>
                  <a:sysClr val="windowText" lastClr="000000"/>
                </a:solidFill>
                <a:latin typeface="Arial"/>
              </a:rPr>
              <a:t>Operational Excellence LLC (</a:t>
            </a:r>
            <a:r>
              <a:rPr lang="en-US" sz="2000" dirty="0" err="1">
                <a:solidFill>
                  <a:sysClr val="windowText" lastClr="000000"/>
                </a:solidFill>
                <a:latin typeface="Arial"/>
              </a:rPr>
              <a:t>OpX</a:t>
            </a:r>
            <a:r>
              <a:rPr lang="en-US" sz="2000" dirty="0">
                <a:solidFill>
                  <a:sysClr val="windowText" lastClr="000000"/>
                </a:solidFill>
                <a:latin typeface="Arial"/>
              </a:rPr>
              <a:t> Safety)</a:t>
            </a:r>
            <a:br>
              <a:rPr lang="en-US" sz="2000" dirty="0">
                <a:solidFill>
                  <a:sysClr val="windowText" lastClr="000000"/>
                </a:solidFill>
                <a:latin typeface="Arial"/>
              </a:rPr>
            </a:br>
            <a:r>
              <a:rPr lang="en-US" sz="2000" dirty="0">
                <a:solidFill>
                  <a:srgbClr val="0070C0"/>
                </a:solidFill>
                <a:hlinkClick r:id="rId2">
                  <a:extLst>
                    <a:ext uri="{A12FA001-AC4F-418D-AE19-62706E023703}">
                      <ahyp:hlinkClr xmlns:ahyp="http://schemas.microsoft.com/office/drawing/2018/hyperlinkcolor" val="tx"/>
                    </a:ext>
                  </a:extLst>
                </a:hlinkClick>
              </a:rPr>
              <a:t>opxsafety@cox.net</a:t>
            </a:r>
            <a:br>
              <a:rPr lang="en-US" sz="2000" dirty="0">
                <a:solidFill>
                  <a:srgbClr val="0070C0"/>
                </a:solidFill>
              </a:rPr>
            </a:br>
            <a:r>
              <a:rPr lang="en-US" sz="2000" dirty="0"/>
              <a:t>Opxsafety.com</a:t>
            </a:r>
            <a:br>
              <a:rPr lang="en-US" sz="2000" dirty="0"/>
            </a:br>
            <a:r>
              <a:rPr lang="en-US" sz="2000" dirty="0"/>
              <a:t>860-713-8050</a:t>
            </a:r>
          </a:p>
          <a:p>
            <a:endParaRPr lang="en-US" sz="2000" dirty="0"/>
          </a:p>
          <a:p>
            <a:r>
              <a:rPr lang="en-US" sz="2000" dirty="0"/>
              <a:t>Matthew J. Twerdy, SGE, CSP, CHMM</a:t>
            </a:r>
          </a:p>
          <a:p>
            <a:r>
              <a:rPr lang="en-US" sz="2000" dirty="0"/>
              <a:t>Collins Aerospace</a:t>
            </a:r>
          </a:p>
          <a:p>
            <a:r>
              <a:rPr lang="en-US" sz="2000" dirty="0">
                <a:solidFill>
                  <a:srgbClr val="0070C0"/>
                </a:solidFill>
                <a:hlinkClick r:id="rId3">
                  <a:extLst>
                    <a:ext uri="{A12FA001-AC4F-418D-AE19-62706E023703}">
                      <ahyp:hlinkClr xmlns:ahyp="http://schemas.microsoft.com/office/drawing/2018/hyperlinkcolor" val="tx"/>
                    </a:ext>
                  </a:extLst>
                </a:hlinkClick>
              </a:rPr>
              <a:t>Matthew.Twerdy@Collins.com</a:t>
            </a:r>
            <a:r>
              <a:rPr lang="en-US" sz="2000" dirty="0">
                <a:solidFill>
                  <a:srgbClr val="0070C0"/>
                </a:solidFill>
              </a:rPr>
              <a:t> </a:t>
            </a:r>
          </a:p>
          <a:p>
            <a:r>
              <a:rPr lang="en-US" sz="2000" dirty="0"/>
              <a:t>860-654-6061</a:t>
            </a:r>
          </a:p>
          <a:p>
            <a:endParaRPr lang="en-US" sz="2000" dirty="0"/>
          </a:p>
        </p:txBody>
      </p:sp>
      <p:sp>
        <p:nvSpPr>
          <p:cNvPr id="6" name="TextBox 5">
            <a:extLst>
              <a:ext uri="{FF2B5EF4-FFF2-40B4-BE49-F238E27FC236}">
                <a16:creationId xmlns:a16="http://schemas.microsoft.com/office/drawing/2014/main" id="{1DA21C27-CB20-60A9-35EA-35E67188BB29}"/>
              </a:ext>
            </a:extLst>
          </p:cNvPr>
          <p:cNvSpPr txBox="1"/>
          <p:nvPr/>
        </p:nvSpPr>
        <p:spPr>
          <a:xfrm>
            <a:off x="864382" y="723813"/>
            <a:ext cx="10741892" cy="830997"/>
          </a:xfrm>
          <a:prstGeom prst="rect">
            <a:avLst/>
          </a:prstGeom>
          <a:noFill/>
        </p:spPr>
        <p:txBody>
          <a:bodyPr wrap="square">
            <a:spAutoFit/>
          </a:bodyPr>
          <a:lstStyle/>
          <a:p>
            <a:r>
              <a:rPr lang="en-US" sz="2400" b="1" dirty="0">
                <a:solidFill>
                  <a:srgbClr val="0070C0"/>
                </a:solidFill>
              </a:rPr>
              <a:t>Human &amp; Organizational Performance: A Mindset That Can Universally Drive Operational Excellence</a:t>
            </a:r>
          </a:p>
        </p:txBody>
      </p:sp>
      <p:pic>
        <p:nvPicPr>
          <p:cNvPr id="13" name="Picture 12">
            <a:extLst>
              <a:ext uri="{FF2B5EF4-FFF2-40B4-BE49-F238E27FC236}">
                <a16:creationId xmlns:a16="http://schemas.microsoft.com/office/drawing/2014/main" id="{4877BF16-2C0D-97D1-DDEA-AEB845A3057E}"/>
              </a:ext>
            </a:extLst>
          </p:cNvPr>
          <p:cNvPicPr>
            <a:picLocks noChangeAspect="1"/>
          </p:cNvPicPr>
          <p:nvPr/>
        </p:nvPicPr>
        <p:blipFill rotWithShape="1">
          <a:blip r:embed="rId4"/>
          <a:srcRect l="1976" t="2897" r="2024" b="8609"/>
          <a:stretch/>
        </p:blipFill>
        <p:spPr>
          <a:xfrm>
            <a:off x="864382" y="2218782"/>
            <a:ext cx="4488872" cy="3103418"/>
          </a:xfrm>
          <a:prstGeom prst="rect">
            <a:avLst/>
          </a:prstGeom>
          <a:ln>
            <a:noFill/>
          </a:ln>
          <a:effectLst>
            <a:softEdge rad="112500"/>
          </a:effectLst>
        </p:spPr>
      </p:pic>
    </p:spTree>
    <p:extLst>
      <p:ext uri="{BB962C8B-B14F-4D97-AF65-F5344CB8AC3E}">
        <p14:creationId xmlns:p14="http://schemas.microsoft.com/office/powerpoint/2010/main" val="173052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p:cNvSpPr>
          <p:nvPr/>
        </p:nvSpPr>
        <p:spPr>
          <a:xfrm>
            <a:off x="3728358" y="244929"/>
            <a:ext cx="5534705" cy="408214"/>
          </a:xfrm>
          <a:prstGeom prst="rect">
            <a:avLst/>
          </a:prstGeom>
          <a:noFill/>
          <a:ln>
            <a:noFill/>
          </a:ln>
        </p:spPr>
        <p:txBody>
          <a:bodyPr vert="horz" wrap="square" lIns="87332" tIns="43666" rIns="87332" bIns="43666" numCol="1" anchor="ctr" anchorCtr="0" compatLnSpc="1">
            <a:prstTxWarp prst="textNoShape">
              <a:avLst/>
            </a:prstTxWarp>
          </a:bodyPr>
          <a:lstStyle>
            <a:lvl1pPr algn="ctr" rtl="0" eaLnBrk="1" fontAlgn="base" hangingPunct="1">
              <a:spcBef>
                <a:spcPct val="0"/>
              </a:spcBef>
              <a:spcAft>
                <a:spcPct val="0"/>
              </a:spcAft>
              <a:defRPr sz="3900">
                <a:solidFill>
                  <a:schemeClr val="tx2"/>
                </a:solidFill>
                <a:latin typeface="+mj-lt"/>
                <a:ea typeface="+mj-ea"/>
                <a:cs typeface="+mj-cs"/>
              </a:defRPr>
            </a:lvl1pPr>
            <a:lvl2pPr algn="ctr" rtl="0" eaLnBrk="1" fontAlgn="base" hangingPunct="1">
              <a:spcBef>
                <a:spcPct val="0"/>
              </a:spcBef>
              <a:spcAft>
                <a:spcPct val="0"/>
              </a:spcAft>
              <a:defRPr sz="3900">
                <a:solidFill>
                  <a:schemeClr val="tx2"/>
                </a:solidFill>
                <a:latin typeface="Tahoma" pitchFamily="34" charset="0"/>
                <a:cs typeface="Arial" charset="0"/>
              </a:defRPr>
            </a:lvl2pPr>
            <a:lvl3pPr algn="ctr" rtl="0" eaLnBrk="1" fontAlgn="base" hangingPunct="1">
              <a:spcBef>
                <a:spcPct val="0"/>
              </a:spcBef>
              <a:spcAft>
                <a:spcPct val="0"/>
              </a:spcAft>
              <a:defRPr sz="3900">
                <a:solidFill>
                  <a:schemeClr val="tx2"/>
                </a:solidFill>
                <a:latin typeface="Tahoma" pitchFamily="34" charset="0"/>
                <a:cs typeface="Arial" charset="0"/>
              </a:defRPr>
            </a:lvl3pPr>
            <a:lvl4pPr algn="ctr" rtl="0" eaLnBrk="1" fontAlgn="base" hangingPunct="1">
              <a:spcBef>
                <a:spcPct val="0"/>
              </a:spcBef>
              <a:spcAft>
                <a:spcPct val="0"/>
              </a:spcAft>
              <a:defRPr sz="3900">
                <a:solidFill>
                  <a:schemeClr val="tx2"/>
                </a:solidFill>
                <a:latin typeface="Tahoma" pitchFamily="34" charset="0"/>
                <a:cs typeface="Arial" charset="0"/>
              </a:defRPr>
            </a:lvl4pPr>
            <a:lvl5pPr algn="ctr" rtl="0" eaLnBrk="1" fontAlgn="base" hangingPunct="1">
              <a:spcBef>
                <a:spcPct val="0"/>
              </a:spcBef>
              <a:spcAft>
                <a:spcPct val="0"/>
              </a:spcAft>
              <a:defRPr sz="3900">
                <a:solidFill>
                  <a:schemeClr val="tx2"/>
                </a:solidFill>
                <a:latin typeface="Tahoma" pitchFamily="34" charset="0"/>
                <a:cs typeface="Arial" charset="0"/>
              </a:defRPr>
            </a:lvl5pPr>
            <a:lvl6pPr marL="407548" algn="ctr" rtl="0" eaLnBrk="1" fontAlgn="base" hangingPunct="1">
              <a:spcBef>
                <a:spcPct val="0"/>
              </a:spcBef>
              <a:spcAft>
                <a:spcPct val="0"/>
              </a:spcAft>
              <a:defRPr sz="3900">
                <a:solidFill>
                  <a:schemeClr val="tx2"/>
                </a:solidFill>
                <a:latin typeface="Arial" charset="0"/>
                <a:cs typeface="Arial" charset="0"/>
              </a:defRPr>
            </a:lvl6pPr>
            <a:lvl7pPr marL="815096" algn="ctr" rtl="0" eaLnBrk="1" fontAlgn="base" hangingPunct="1">
              <a:spcBef>
                <a:spcPct val="0"/>
              </a:spcBef>
              <a:spcAft>
                <a:spcPct val="0"/>
              </a:spcAft>
              <a:defRPr sz="3900">
                <a:solidFill>
                  <a:schemeClr val="tx2"/>
                </a:solidFill>
                <a:latin typeface="Arial" charset="0"/>
                <a:cs typeface="Arial" charset="0"/>
              </a:defRPr>
            </a:lvl7pPr>
            <a:lvl8pPr marL="1222644" algn="ctr" rtl="0" eaLnBrk="1" fontAlgn="base" hangingPunct="1">
              <a:spcBef>
                <a:spcPct val="0"/>
              </a:spcBef>
              <a:spcAft>
                <a:spcPct val="0"/>
              </a:spcAft>
              <a:defRPr sz="3900">
                <a:solidFill>
                  <a:schemeClr val="tx2"/>
                </a:solidFill>
                <a:latin typeface="Arial" charset="0"/>
                <a:cs typeface="Arial" charset="0"/>
              </a:defRPr>
            </a:lvl8pPr>
            <a:lvl9pPr marL="1630192" algn="ctr" rtl="0" eaLnBrk="1" fontAlgn="base" hangingPunct="1">
              <a:spcBef>
                <a:spcPct val="0"/>
              </a:spcBef>
              <a:spcAft>
                <a:spcPct val="0"/>
              </a:spcAft>
              <a:defRPr sz="3900">
                <a:solidFill>
                  <a:schemeClr val="tx2"/>
                </a:solidFill>
                <a:latin typeface="Arial" charset="0"/>
                <a:cs typeface="Arial" charset="0"/>
              </a:defRPr>
            </a:lvl9pPr>
          </a:lstStyle>
          <a:p>
            <a:pPr algn="l" eaLnBrk="0" hangingPunct="0"/>
            <a:r>
              <a:rPr lang="en-US" sz="3000" b="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Organizational Health?</a:t>
            </a:r>
          </a:p>
        </p:txBody>
      </p:sp>
      <p:sp>
        <p:nvSpPr>
          <p:cNvPr id="4" name="TextBox 3"/>
          <p:cNvSpPr txBox="1"/>
          <p:nvPr/>
        </p:nvSpPr>
        <p:spPr>
          <a:xfrm>
            <a:off x="1564821" y="1306286"/>
            <a:ext cx="8899071" cy="883575"/>
          </a:xfrm>
          <a:prstGeom prst="rect">
            <a:avLst/>
          </a:prstGeom>
          <a:noFill/>
        </p:spPr>
        <p:txBody>
          <a:bodyPr wrap="square" rtlCol="0">
            <a:spAutoFit/>
          </a:bodyPr>
          <a:lstStyle/>
          <a:p>
            <a:pPr algn="ctr"/>
            <a:r>
              <a:rPr lang="en-US" sz="2571" b="1" dirty="0"/>
              <a:t>Robust Values and the Ability to Keep Them Healthy and in Balance</a:t>
            </a:r>
          </a:p>
        </p:txBody>
      </p:sp>
      <p:pic>
        <p:nvPicPr>
          <p:cNvPr id="8" name="Picture 2" descr="The Plate Spinner ***"/>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454242" y="2650782"/>
            <a:ext cx="5120228" cy="38401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1128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95500" y="476806"/>
            <a:ext cx="7674429" cy="1279196"/>
          </a:xfrm>
          <a:prstGeom prst="rect">
            <a:avLst/>
          </a:prstGeom>
          <a:noFill/>
        </p:spPr>
        <p:txBody>
          <a:bodyPr wrap="square" rtlCol="0">
            <a:spAutoFit/>
          </a:bodyPr>
          <a:lstStyle/>
          <a:p>
            <a:pPr algn="ctr"/>
            <a:r>
              <a:rPr lang="en-US" sz="2571" b="1" dirty="0"/>
              <a:t>Most organizations have sound values, the challenge is typically how they make decisions across them.</a:t>
            </a:r>
          </a:p>
        </p:txBody>
      </p:sp>
      <p:grpSp>
        <p:nvGrpSpPr>
          <p:cNvPr id="20" name="Group 19"/>
          <p:cNvGrpSpPr/>
          <p:nvPr/>
        </p:nvGrpSpPr>
        <p:grpSpPr>
          <a:xfrm>
            <a:off x="2397806" y="2060255"/>
            <a:ext cx="6564871" cy="3584579"/>
            <a:chOff x="1592633" y="2216995"/>
            <a:chExt cx="6127213" cy="3345607"/>
          </a:xfrm>
        </p:grpSpPr>
        <p:cxnSp>
          <p:nvCxnSpPr>
            <p:cNvPr id="8" name="Straight Arrow Connector 7"/>
            <p:cNvCxnSpPr/>
            <p:nvPr/>
          </p:nvCxnSpPr>
          <p:spPr>
            <a:xfrm>
              <a:off x="3131848"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3741448"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4247506"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4808248"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5417848"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6045047"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6637048" y="2667000"/>
              <a:ext cx="0" cy="289560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6" name="Left Brace 15"/>
            <p:cNvSpPr/>
            <p:nvPr/>
          </p:nvSpPr>
          <p:spPr>
            <a:xfrm>
              <a:off x="2515637" y="3230181"/>
              <a:ext cx="304800" cy="1447800"/>
            </a:xfrm>
            <a:prstGeom prst="leftBrace">
              <a:avLst/>
            </a:prstGeom>
            <a:ln w="3810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929"/>
            </a:p>
          </p:txBody>
        </p:sp>
        <p:sp>
          <p:nvSpPr>
            <p:cNvPr id="17" name="TextBox 16"/>
            <p:cNvSpPr txBox="1"/>
            <p:nvPr/>
          </p:nvSpPr>
          <p:spPr>
            <a:xfrm>
              <a:off x="1592633" y="3733583"/>
              <a:ext cx="775298" cy="363262"/>
            </a:xfrm>
            <a:prstGeom prst="rect">
              <a:avLst/>
            </a:prstGeom>
            <a:noFill/>
          </p:spPr>
          <p:txBody>
            <a:bodyPr wrap="none" rtlCol="0">
              <a:spAutoFit/>
            </a:bodyPr>
            <a:lstStyle/>
            <a:p>
              <a:r>
                <a:rPr lang="en-US" sz="1929" dirty="0"/>
                <a:t>Limits</a:t>
              </a:r>
            </a:p>
          </p:txBody>
        </p:sp>
        <p:sp>
          <p:nvSpPr>
            <p:cNvPr id="18" name="TextBox 17"/>
            <p:cNvSpPr txBox="1"/>
            <p:nvPr/>
          </p:nvSpPr>
          <p:spPr>
            <a:xfrm>
              <a:off x="3590928" y="2216995"/>
              <a:ext cx="2795260" cy="363262"/>
            </a:xfrm>
            <a:prstGeom prst="rect">
              <a:avLst/>
            </a:prstGeom>
            <a:noFill/>
          </p:spPr>
          <p:txBody>
            <a:bodyPr wrap="none" rtlCol="0">
              <a:spAutoFit/>
            </a:bodyPr>
            <a:lstStyle/>
            <a:p>
              <a:r>
                <a:rPr lang="en-US" sz="1929" dirty="0"/>
                <a:t>VALUES / IMPERATIVES</a:t>
              </a:r>
            </a:p>
          </p:txBody>
        </p:sp>
        <p:sp>
          <p:nvSpPr>
            <p:cNvPr id="4" name="Bent Arrow 3"/>
            <p:cNvSpPr/>
            <p:nvPr/>
          </p:nvSpPr>
          <p:spPr>
            <a:xfrm rot="5400000">
              <a:off x="4510925" y="2353680"/>
              <a:ext cx="1813844" cy="4603999"/>
            </a:xfrm>
            <a:prstGeom prst="bentArrow">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929" dirty="0">
                <a:solidFill>
                  <a:schemeClr val="tx1"/>
                </a:solidFill>
              </a:endParaRPr>
            </a:p>
          </p:txBody>
        </p:sp>
        <p:sp>
          <p:nvSpPr>
            <p:cNvPr id="19" name="Rectangle 18"/>
            <p:cNvSpPr/>
            <p:nvPr/>
          </p:nvSpPr>
          <p:spPr>
            <a:xfrm>
              <a:off x="3418809" y="3775813"/>
              <a:ext cx="3200534" cy="363262"/>
            </a:xfrm>
            <a:prstGeom prst="rect">
              <a:avLst/>
            </a:prstGeom>
          </p:spPr>
          <p:txBody>
            <a:bodyPr wrap="none">
              <a:spAutoFit/>
            </a:bodyPr>
            <a:lstStyle/>
            <a:p>
              <a:pPr algn="ctr"/>
              <a:r>
                <a:rPr lang="en-US" sz="1929" dirty="0">
                  <a:solidFill>
                    <a:schemeClr val="accent6">
                      <a:lumMod val="50000"/>
                    </a:schemeClr>
                  </a:solidFill>
                </a:rPr>
                <a:t>Balanced Business Decisions</a:t>
              </a:r>
            </a:p>
          </p:txBody>
        </p:sp>
      </p:grpSp>
      <p:sp>
        <p:nvSpPr>
          <p:cNvPr id="22" name="TextBox 21"/>
          <p:cNvSpPr txBox="1"/>
          <p:nvPr/>
        </p:nvSpPr>
        <p:spPr>
          <a:xfrm>
            <a:off x="5215398" y="5823621"/>
            <a:ext cx="1641796" cy="389209"/>
          </a:xfrm>
          <a:prstGeom prst="rect">
            <a:avLst/>
          </a:prstGeom>
          <a:noFill/>
        </p:spPr>
        <p:txBody>
          <a:bodyPr wrap="none" rtlCol="0">
            <a:spAutoFit/>
          </a:bodyPr>
          <a:lstStyle/>
          <a:p>
            <a:r>
              <a:rPr lang="en-US" sz="1929" dirty="0"/>
              <a:t>The Frontline</a:t>
            </a:r>
          </a:p>
        </p:txBody>
      </p:sp>
    </p:spTree>
    <p:extLst>
      <p:ext uri="{BB962C8B-B14F-4D97-AF65-F5344CB8AC3E}">
        <p14:creationId xmlns:p14="http://schemas.microsoft.com/office/powerpoint/2010/main" val="19678392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descr="Image result for many road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6167"/>
            <a:ext cx="12192000" cy="730622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a:xfrm>
            <a:off x="11336612" y="6516372"/>
            <a:ext cx="454335" cy="365691"/>
          </a:xfrm>
        </p:spPr>
        <p:txBody>
          <a:bodyPr/>
          <a:lstStyle/>
          <a:p>
            <a:fld id="{7422CD4A-2F8F-4C49-910D-A58329D88FAA}" type="slidenum">
              <a:rPr lang="en-US" sz="1125">
                <a:solidFill>
                  <a:schemeClr val="bg1"/>
                </a:solidFill>
              </a:rPr>
              <a:pPr/>
              <a:t>5</a:t>
            </a:fld>
            <a:endParaRPr lang="en-US" sz="1125" dirty="0">
              <a:solidFill>
                <a:schemeClr val="bg1"/>
              </a:solidFill>
            </a:endParaRPr>
          </a:p>
        </p:txBody>
      </p:sp>
      <p:sp>
        <p:nvSpPr>
          <p:cNvPr id="4" name="TextBox 3"/>
          <p:cNvSpPr txBox="1"/>
          <p:nvPr/>
        </p:nvSpPr>
        <p:spPr>
          <a:xfrm>
            <a:off x="3830047" y="19508"/>
            <a:ext cx="4552849" cy="686085"/>
          </a:xfrm>
          <a:prstGeom prst="rect">
            <a:avLst/>
          </a:prstGeom>
          <a:noFill/>
        </p:spPr>
        <p:txBody>
          <a:bodyPr wrap="none" rtlCol="0">
            <a:spAutoFit/>
          </a:bodyPr>
          <a:lstStyle/>
          <a:p>
            <a:r>
              <a:rPr lang="en-US" sz="1929" b="1" dirty="0">
                <a:solidFill>
                  <a:srgbClr val="333333"/>
                </a:solidFill>
              </a:rPr>
              <a:t>Organizational &amp; Operational Factors</a:t>
            </a:r>
          </a:p>
          <a:p>
            <a:pPr algn="ctr"/>
            <a:r>
              <a:rPr lang="en-US" sz="1929" b="1" dirty="0">
                <a:solidFill>
                  <a:srgbClr val="333333"/>
                </a:solidFill>
              </a:rPr>
              <a:t>(Culture)</a:t>
            </a:r>
          </a:p>
        </p:txBody>
      </p:sp>
      <p:sp>
        <p:nvSpPr>
          <p:cNvPr id="8" name="TextBox 7"/>
          <p:cNvSpPr txBox="1"/>
          <p:nvPr/>
        </p:nvSpPr>
        <p:spPr>
          <a:xfrm>
            <a:off x="4716277" y="1295723"/>
            <a:ext cx="2783134" cy="389209"/>
          </a:xfrm>
          <a:prstGeom prst="rect">
            <a:avLst/>
          </a:prstGeom>
          <a:noFill/>
        </p:spPr>
        <p:txBody>
          <a:bodyPr wrap="none" rtlCol="0">
            <a:spAutoFit/>
          </a:bodyPr>
          <a:lstStyle/>
          <a:p>
            <a:r>
              <a:rPr lang="en-US" sz="1929" b="1" dirty="0">
                <a:solidFill>
                  <a:schemeClr val="accent5">
                    <a:lumMod val="25000"/>
                  </a:schemeClr>
                </a:solidFill>
              </a:rPr>
              <a:t>Management Systems</a:t>
            </a:r>
          </a:p>
        </p:txBody>
      </p:sp>
      <p:sp>
        <p:nvSpPr>
          <p:cNvPr id="10" name="TextBox 9"/>
          <p:cNvSpPr txBox="1"/>
          <p:nvPr/>
        </p:nvSpPr>
        <p:spPr>
          <a:xfrm>
            <a:off x="5354849" y="2448334"/>
            <a:ext cx="1423788" cy="389209"/>
          </a:xfrm>
          <a:prstGeom prst="rect">
            <a:avLst/>
          </a:prstGeom>
          <a:noFill/>
        </p:spPr>
        <p:txBody>
          <a:bodyPr wrap="none" rtlCol="0">
            <a:spAutoFit/>
          </a:bodyPr>
          <a:lstStyle/>
          <a:p>
            <a:r>
              <a:rPr lang="en-US" sz="1929" b="1" dirty="0">
                <a:solidFill>
                  <a:schemeClr val="accent5">
                    <a:lumMod val="25000"/>
                  </a:schemeClr>
                </a:solidFill>
              </a:rPr>
              <a:t>Processes</a:t>
            </a:r>
          </a:p>
        </p:txBody>
      </p:sp>
      <p:sp>
        <p:nvSpPr>
          <p:cNvPr id="11" name="TextBox 10"/>
          <p:cNvSpPr txBox="1"/>
          <p:nvPr/>
        </p:nvSpPr>
        <p:spPr>
          <a:xfrm>
            <a:off x="6504214" y="3682276"/>
            <a:ext cx="707245" cy="389209"/>
          </a:xfrm>
          <a:prstGeom prst="rect">
            <a:avLst/>
          </a:prstGeom>
          <a:noFill/>
        </p:spPr>
        <p:txBody>
          <a:bodyPr wrap="none" rtlCol="0">
            <a:spAutoFit/>
          </a:bodyPr>
          <a:lstStyle/>
          <a:p>
            <a:r>
              <a:rPr lang="en-US" sz="1929" b="1" dirty="0">
                <a:solidFill>
                  <a:srgbClr val="FF0000"/>
                </a:solidFill>
              </a:rPr>
              <a:t>Risk</a:t>
            </a:r>
          </a:p>
        </p:txBody>
      </p:sp>
      <p:sp>
        <p:nvSpPr>
          <p:cNvPr id="13" name="TextBox 12"/>
          <p:cNvSpPr txBox="1"/>
          <p:nvPr/>
        </p:nvSpPr>
        <p:spPr>
          <a:xfrm>
            <a:off x="5567701" y="5983988"/>
            <a:ext cx="1077539" cy="389209"/>
          </a:xfrm>
          <a:prstGeom prst="rect">
            <a:avLst/>
          </a:prstGeom>
          <a:noFill/>
        </p:spPr>
        <p:txBody>
          <a:bodyPr wrap="none" rtlCol="0">
            <a:spAutoFit/>
          </a:bodyPr>
          <a:lstStyle/>
          <a:p>
            <a:r>
              <a:rPr lang="en-US" sz="1929" b="1" dirty="0"/>
              <a:t>Results</a:t>
            </a:r>
          </a:p>
        </p:txBody>
      </p:sp>
      <p:sp>
        <p:nvSpPr>
          <p:cNvPr id="9" name="TextBox 8"/>
          <p:cNvSpPr txBox="1"/>
          <p:nvPr/>
        </p:nvSpPr>
        <p:spPr>
          <a:xfrm>
            <a:off x="4626429" y="3682276"/>
            <a:ext cx="1021433" cy="389209"/>
          </a:xfrm>
          <a:prstGeom prst="rect">
            <a:avLst/>
          </a:prstGeom>
          <a:noFill/>
        </p:spPr>
        <p:txBody>
          <a:bodyPr wrap="none" rtlCol="0">
            <a:spAutoFit/>
          </a:bodyPr>
          <a:lstStyle/>
          <a:p>
            <a:r>
              <a:rPr lang="en-US" sz="1929" b="1" dirty="0">
                <a:solidFill>
                  <a:srgbClr val="00B050"/>
                </a:solidFill>
              </a:rPr>
              <a:t>Benefit</a:t>
            </a:r>
          </a:p>
        </p:txBody>
      </p:sp>
      <p:cxnSp>
        <p:nvCxnSpPr>
          <p:cNvPr id="6" name="Straight Connector 5"/>
          <p:cNvCxnSpPr/>
          <p:nvPr/>
        </p:nvCxnSpPr>
        <p:spPr>
          <a:xfrm>
            <a:off x="28875" y="705593"/>
            <a:ext cx="12118206" cy="1"/>
          </a:xfrm>
          <a:prstGeom prst="line">
            <a:avLst/>
          </a:prstGeom>
          <a:ln w="28575">
            <a:solidFill>
              <a:srgbClr val="CC4129"/>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793290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932214" y="1245169"/>
            <a:ext cx="7674429" cy="1015663"/>
          </a:xfrm>
          <a:prstGeom prst="rect">
            <a:avLst/>
          </a:prstGeom>
          <a:noFill/>
        </p:spPr>
        <p:txBody>
          <a:bodyPr wrap="square" rtlCol="0">
            <a:spAutoFit/>
          </a:bodyPr>
          <a:lstStyle/>
          <a:p>
            <a:pPr algn="ctr"/>
            <a:r>
              <a:rPr lang="en-US" sz="3000" b="1" dirty="0"/>
              <a:t>I. The organization does not have a way to make value-balanced decisions</a:t>
            </a:r>
          </a:p>
        </p:txBody>
      </p:sp>
      <p:sp>
        <p:nvSpPr>
          <p:cNvPr id="4" name="Title 1"/>
          <p:cNvSpPr txBox="1">
            <a:spLocks/>
          </p:cNvSpPr>
          <p:nvPr/>
        </p:nvSpPr>
        <p:spPr>
          <a:xfrm>
            <a:off x="3940969" y="244929"/>
            <a:ext cx="3656920" cy="408214"/>
          </a:xfrm>
          <a:prstGeom prst="rect">
            <a:avLst/>
          </a:prstGeom>
          <a:noFill/>
          <a:ln>
            <a:noFill/>
          </a:ln>
        </p:spPr>
        <p:txBody>
          <a:bodyPr vert="horz" wrap="square" lIns="87332" tIns="43666" rIns="87332" bIns="43666" numCol="1" anchor="ctr" anchorCtr="0" compatLnSpc="1">
            <a:prstTxWarp prst="textNoShape">
              <a:avLst/>
            </a:prstTxWarp>
          </a:bodyPr>
          <a:lstStyle>
            <a:lvl1pPr algn="ctr" rtl="0" eaLnBrk="1" fontAlgn="base" hangingPunct="1">
              <a:spcBef>
                <a:spcPct val="0"/>
              </a:spcBef>
              <a:spcAft>
                <a:spcPct val="0"/>
              </a:spcAft>
              <a:defRPr sz="3900">
                <a:solidFill>
                  <a:schemeClr val="tx2"/>
                </a:solidFill>
                <a:latin typeface="+mj-lt"/>
                <a:ea typeface="+mj-ea"/>
                <a:cs typeface="+mj-cs"/>
              </a:defRPr>
            </a:lvl1pPr>
            <a:lvl2pPr algn="ctr" rtl="0" eaLnBrk="1" fontAlgn="base" hangingPunct="1">
              <a:spcBef>
                <a:spcPct val="0"/>
              </a:spcBef>
              <a:spcAft>
                <a:spcPct val="0"/>
              </a:spcAft>
              <a:defRPr sz="3900">
                <a:solidFill>
                  <a:schemeClr val="tx2"/>
                </a:solidFill>
                <a:latin typeface="Tahoma" pitchFamily="34" charset="0"/>
                <a:cs typeface="Arial" charset="0"/>
              </a:defRPr>
            </a:lvl2pPr>
            <a:lvl3pPr algn="ctr" rtl="0" eaLnBrk="1" fontAlgn="base" hangingPunct="1">
              <a:spcBef>
                <a:spcPct val="0"/>
              </a:spcBef>
              <a:spcAft>
                <a:spcPct val="0"/>
              </a:spcAft>
              <a:defRPr sz="3900">
                <a:solidFill>
                  <a:schemeClr val="tx2"/>
                </a:solidFill>
                <a:latin typeface="Tahoma" pitchFamily="34" charset="0"/>
                <a:cs typeface="Arial" charset="0"/>
              </a:defRPr>
            </a:lvl3pPr>
            <a:lvl4pPr algn="ctr" rtl="0" eaLnBrk="1" fontAlgn="base" hangingPunct="1">
              <a:spcBef>
                <a:spcPct val="0"/>
              </a:spcBef>
              <a:spcAft>
                <a:spcPct val="0"/>
              </a:spcAft>
              <a:defRPr sz="3900">
                <a:solidFill>
                  <a:schemeClr val="tx2"/>
                </a:solidFill>
                <a:latin typeface="Tahoma" pitchFamily="34" charset="0"/>
                <a:cs typeface="Arial" charset="0"/>
              </a:defRPr>
            </a:lvl4pPr>
            <a:lvl5pPr algn="ctr" rtl="0" eaLnBrk="1" fontAlgn="base" hangingPunct="1">
              <a:spcBef>
                <a:spcPct val="0"/>
              </a:spcBef>
              <a:spcAft>
                <a:spcPct val="0"/>
              </a:spcAft>
              <a:defRPr sz="3900">
                <a:solidFill>
                  <a:schemeClr val="tx2"/>
                </a:solidFill>
                <a:latin typeface="Tahoma" pitchFamily="34" charset="0"/>
                <a:cs typeface="Arial" charset="0"/>
              </a:defRPr>
            </a:lvl5pPr>
            <a:lvl6pPr marL="407548" algn="ctr" rtl="0" eaLnBrk="1" fontAlgn="base" hangingPunct="1">
              <a:spcBef>
                <a:spcPct val="0"/>
              </a:spcBef>
              <a:spcAft>
                <a:spcPct val="0"/>
              </a:spcAft>
              <a:defRPr sz="3900">
                <a:solidFill>
                  <a:schemeClr val="tx2"/>
                </a:solidFill>
                <a:latin typeface="Arial" charset="0"/>
                <a:cs typeface="Arial" charset="0"/>
              </a:defRPr>
            </a:lvl6pPr>
            <a:lvl7pPr marL="815096" algn="ctr" rtl="0" eaLnBrk="1" fontAlgn="base" hangingPunct="1">
              <a:spcBef>
                <a:spcPct val="0"/>
              </a:spcBef>
              <a:spcAft>
                <a:spcPct val="0"/>
              </a:spcAft>
              <a:defRPr sz="3900">
                <a:solidFill>
                  <a:schemeClr val="tx2"/>
                </a:solidFill>
                <a:latin typeface="Arial" charset="0"/>
                <a:cs typeface="Arial" charset="0"/>
              </a:defRPr>
            </a:lvl7pPr>
            <a:lvl8pPr marL="1222644" algn="ctr" rtl="0" eaLnBrk="1" fontAlgn="base" hangingPunct="1">
              <a:spcBef>
                <a:spcPct val="0"/>
              </a:spcBef>
              <a:spcAft>
                <a:spcPct val="0"/>
              </a:spcAft>
              <a:defRPr sz="3900">
                <a:solidFill>
                  <a:schemeClr val="tx2"/>
                </a:solidFill>
                <a:latin typeface="Arial" charset="0"/>
                <a:cs typeface="Arial" charset="0"/>
              </a:defRPr>
            </a:lvl8pPr>
            <a:lvl9pPr marL="1630192" algn="ctr" rtl="0" eaLnBrk="1" fontAlgn="base" hangingPunct="1">
              <a:spcBef>
                <a:spcPct val="0"/>
              </a:spcBef>
              <a:spcAft>
                <a:spcPct val="0"/>
              </a:spcAft>
              <a:defRPr sz="3900">
                <a:solidFill>
                  <a:schemeClr val="tx2"/>
                </a:solidFill>
                <a:latin typeface="Arial" charset="0"/>
                <a:cs typeface="Arial" charset="0"/>
              </a:defRPr>
            </a:lvl9pPr>
          </a:lstStyle>
          <a:p>
            <a:pPr algn="l" eaLnBrk="0" hangingPunct="0"/>
            <a:r>
              <a:rPr lang="en-US" sz="3000" b="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The Critical Path</a:t>
            </a:r>
          </a:p>
        </p:txBody>
      </p:sp>
      <p:pic>
        <p:nvPicPr>
          <p:cNvPr id="25" name="Picture 2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44757" y="2852858"/>
            <a:ext cx="3049342" cy="2854922"/>
          </a:xfrm>
          <a:prstGeom prst="rect">
            <a:avLst/>
          </a:prstGeom>
        </p:spPr>
      </p:pic>
    </p:spTree>
    <p:extLst>
      <p:ext uri="{BB962C8B-B14F-4D97-AF65-F5344CB8AC3E}">
        <p14:creationId xmlns:p14="http://schemas.microsoft.com/office/powerpoint/2010/main" val="13213115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013857" y="2122715"/>
            <a:ext cx="7674429" cy="1015663"/>
          </a:xfrm>
          <a:prstGeom prst="rect">
            <a:avLst/>
          </a:prstGeom>
          <a:noFill/>
        </p:spPr>
        <p:txBody>
          <a:bodyPr wrap="square" rtlCol="0">
            <a:spAutoFit/>
          </a:bodyPr>
          <a:lstStyle/>
          <a:p>
            <a:pPr algn="ctr"/>
            <a:r>
              <a:rPr lang="en-US" sz="3000" b="1" dirty="0"/>
              <a:t>II. Management systems are not robust enough to predict/prevent imbalance</a:t>
            </a:r>
          </a:p>
        </p:txBody>
      </p:sp>
      <p:sp>
        <p:nvSpPr>
          <p:cNvPr id="4" name="Title 1"/>
          <p:cNvSpPr txBox="1">
            <a:spLocks/>
          </p:cNvSpPr>
          <p:nvPr/>
        </p:nvSpPr>
        <p:spPr>
          <a:xfrm>
            <a:off x="3940969" y="244929"/>
            <a:ext cx="3656920" cy="408214"/>
          </a:xfrm>
          <a:prstGeom prst="rect">
            <a:avLst/>
          </a:prstGeom>
          <a:noFill/>
          <a:ln>
            <a:noFill/>
          </a:ln>
        </p:spPr>
        <p:txBody>
          <a:bodyPr vert="horz" wrap="square" lIns="87332" tIns="43666" rIns="87332" bIns="43666" numCol="1" anchor="ctr" anchorCtr="0" compatLnSpc="1">
            <a:prstTxWarp prst="textNoShape">
              <a:avLst/>
            </a:prstTxWarp>
          </a:bodyPr>
          <a:lstStyle>
            <a:lvl1pPr algn="ctr" rtl="0" eaLnBrk="1" fontAlgn="base" hangingPunct="1">
              <a:spcBef>
                <a:spcPct val="0"/>
              </a:spcBef>
              <a:spcAft>
                <a:spcPct val="0"/>
              </a:spcAft>
              <a:defRPr sz="3900">
                <a:solidFill>
                  <a:schemeClr val="tx2"/>
                </a:solidFill>
                <a:latin typeface="+mj-lt"/>
                <a:ea typeface="+mj-ea"/>
                <a:cs typeface="+mj-cs"/>
              </a:defRPr>
            </a:lvl1pPr>
            <a:lvl2pPr algn="ctr" rtl="0" eaLnBrk="1" fontAlgn="base" hangingPunct="1">
              <a:spcBef>
                <a:spcPct val="0"/>
              </a:spcBef>
              <a:spcAft>
                <a:spcPct val="0"/>
              </a:spcAft>
              <a:defRPr sz="3900">
                <a:solidFill>
                  <a:schemeClr val="tx2"/>
                </a:solidFill>
                <a:latin typeface="Tahoma" pitchFamily="34" charset="0"/>
                <a:cs typeface="Arial" charset="0"/>
              </a:defRPr>
            </a:lvl2pPr>
            <a:lvl3pPr algn="ctr" rtl="0" eaLnBrk="1" fontAlgn="base" hangingPunct="1">
              <a:spcBef>
                <a:spcPct val="0"/>
              </a:spcBef>
              <a:spcAft>
                <a:spcPct val="0"/>
              </a:spcAft>
              <a:defRPr sz="3900">
                <a:solidFill>
                  <a:schemeClr val="tx2"/>
                </a:solidFill>
                <a:latin typeface="Tahoma" pitchFamily="34" charset="0"/>
                <a:cs typeface="Arial" charset="0"/>
              </a:defRPr>
            </a:lvl3pPr>
            <a:lvl4pPr algn="ctr" rtl="0" eaLnBrk="1" fontAlgn="base" hangingPunct="1">
              <a:spcBef>
                <a:spcPct val="0"/>
              </a:spcBef>
              <a:spcAft>
                <a:spcPct val="0"/>
              </a:spcAft>
              <a:defRPr sz="3900">
                <a:solidFill>
                  <a:schemeClr val="tx2"/>
                </a:solidFill>
                <a:latin typeface="Tahoma" pitchFamily="34" charset="0"/>
                <a:cs typeface="Arial" charset="0"/>
              </a:defRPr>
            </a:lvl4pPr>
            <a:lvl5pPr algn="ctr" rtl="0" eaLnBrk="1" fontAlgn="base" hangingPunct="1">
              <a:spcBef>
                <a:spcPct val="0"/>
              </a:spcBef>
              <a:spcAft>
                <a:spcPct val="0"/>
              </a:spcAft>
              <a:defRPr sz="3900">
                <a:solidFill>
                  <a:schemeClr val="tx2"/>
                </a:solidFill>
                <a:latin typeface="Tahoma" pitchFamily="34" charset="0"/>
                <a:cs typeface="Arial" charset="0"/>
              </a:defRPr>
            </a:lvl5pPr>
            <a:lvl6pPr marL="407548" algn="ctr" rtl="0" eaLnBrk="1" fontAlgn="base" hangingPunct="1">
              <a:spcBef>
                <a:spcPct val="0"/>
              </a:spcBef>
              <a:spcAft>
                <a:spcPct val="0"/>
              </a:spcAft>
              <a:defRPr sz="3900">
                <a:solidFill>
                  <a:schemeClr val="tx2"/>
                </a:solidFill>
                <a:latin typeface="Arial" charset="0"/>
                <a:cs typeface="Arial" charset="0"/>
              </a:defRPr>
            </a:lvl6pPr>
            <a:lvl7pPr marL="815096" algn="ctr" rtl="0" eaLnBrk="1" fontAlgn="base" hangingPunct="1">
              <a:spcBef>
                <a:spcPct val="0"/>
              </a:spcBef>
              <a:spcAft>
                <a:spcPct val="0"/>
              </a:spcAft>
              <a:defRPr sz="3900">
                <a:solidFill>
                  <a:schemeClr val="tx2"/>
                </a:solidFill>
                <a:latin typeface="Arial" charset="0"/>
                <a:cs typeface="Arial" charset="0"/>
              </a:defRPr>
            </a:lvl7pPr>
            <a:lvl8pPr marL="1222644" algn="ctr" rtl="0" eaLnBrk="1" fontAlgn="base" hangingPunct="1">
              <a:spcBef>
                <a:spcPct val="0"/>
              </a:spcBef>
              <a:spcAft>
                <a:spcPct val="0"/>
              </a:spcAft>
              <a:defRPr sz="3900">
                <a:solidFill>
                  <a:schemeClr val="tx2"/>
                </a:solidFill>
                <a:latin typeface="Arial" charset="0"/>
                <a:cs typeface="Arial" charset="0"/>
              </a:defRPr>
            </a:lvl8pPr>
            <a:lvl9pPr marL="1630192" algn="ctr" rtl="0" eaLnBrk="1" fontAlgn="base" hangingPunct="1">
              <a:spcBef>
                <a:spcPct val="0"/>
              </a:spcBef>
              <a:spcAft>
                <a:spcPct val="0"/>
              </a:spcAft>
              <a:defRPr sz="3900">
                <a:solidFill>
                  <a:schemeClr val="tx2"/>
                </a:solidFill>
                <a:latin typeface="Arial" charset="0"/>
                <a:cs typeface="Arial" charset="0"/>
              </a:defRPr>
            </a:lvl9pPr>
          </a:lstStyle>
          <a:p>
            <a:pPr algn="l" eaLnBrk="0" hangingPunct="0"/>
            <a:r>
              <a:rPr lang="en-US" sz="3000" b="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The Critical Path</a:t>
            </a:r>
          </a:p>
        </p:txBody>
      </p:sp>
    </p:spTree>
    <p:extLst>
      <p:ext uri="{BB962C8B-B14F-4D97-AF65-F5344CB8AC3E}">
        <p14:creationId xmlns:p14="http://schemas.microsoft.com/office/powerpoint/2010/main" val="11370028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46464" y="1296661"/>
            <a:ext cx="8245930" cy="4576253"/>
          </a:xfrm>
          <a:prstGeom prst="rect">
            <a:avLst/>
          </a:prstGeom>
          <a:noFill/>
        </p:spPr>
        <p:txBody>
          <a:bodyPr wrap="square" rtlCol="0">
            <a:spAutoFit/>
          </a:bodyPr>
          <a:lstStyle/>
          <a:p>
            <a:pPr algn="ctr"/>
            <a:endParaRPr lang="en-US" sz="2571" dirty="0"/>
          </a:p>
          <a:p>
            <a:pPr algn="ctr"/>
            <a:r>
              <a:rPr lang="en-US" sz="3000" b="1" dirty="0"/>
              <a:t>III. Decisions create processes</a:t>
            </a:r>
          </a:p>
          <a:p>
            <a:pPr algn="ctr"/>
            <a:r>
              <a:rPr lang="en-US" sz="3000" b="1" dirty="0"/>
              <a:t>with imbalanced benefit vs. risk</a:t>
            </a:r>
          </a:p>
          <a:p>
            <a:pPr algn="ctr"/>
            <a:endParaRPr lang="en-US" sz="2571" dirty="0"/>
          </a:p>
          <a:p>
            <a:pPr algn="ctr"/>
            <a:endParaRPr lang="en-US" sz="2571" dirty="0"/>
          </a:p>
          <a:p>
            <a:pPr algn="ctr"/>
            <a:r>
              <a:rPr lang="en-US" sz="257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These processes foster:</a:t>
            </a:r>
          </a:p>
          <a:p>
            <a:pPr algn="ctr"/>
            <a:endParaRPr lang="en-US" sz="257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endParaRPr>
          </a:p>
          <a:p>
            <a:pPr marL="367383" indent="-367383" algn="ctr">
              <a:buFont typeface="Wingdings" panose="05000000000000000000" pitchFamily="2" charset="2"/>
              <a:buChar char="ü"/>
            </a:pPr>
            <a:r>
              <a:rPr lang="en-US" sz="257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 Excessive risk and waste</a:t>
            </a:r>
          </a:p>
          <a:p>
            <a:pPr marL="367383" indent="-367383" algn="ctr">
              <a:buFont typeface="Wingdings" panose="05000000000000000000" pitchFamily="2" charset="2"/>
              <a:buChar char="ü"/>
            </a:pPr>
            <a:r>
              <a:rPr lang="en-US" sz="257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Unnecessary frontline decisions</a:t>
            </a:r>
          </a:p>
          <a:p>
            <a:pPr algn="ctr"/>
            <a:endParaRPr lang="en-US" sz="2571" dirty="0"/>
          </a:p>
          <a:p>
            <a:pPr algn="ctr"/>
            <a:endParaRPr lang="en-US" sz="2571" dirty="0"/>
          </a:p>
        </p:txBody>
      </p:sp>
      <p:sp>
        <p:nvSpPr>
          <p:cNvPr id="4" name="Title 1"/>
          <p:cNvSpPr txBox="1">
            <a:spLocks/>
          </p:cNvSpPr>
          <p:nvPr/>
        </p:nvSpPr>
        <p:spPr>
          <a:xfrm>
            <a:off x="3940969" y="244929"/>
            <a:ext cx="3656920" cy="408214"/>
          </a:xfrm>
          <a:prstGeom prst="rect">
            <a:avLst/>
          </a:prstGeom>
          <a:noFill/>
          <a:ln>
            <a:noFill/>
          </a:ln>
        </p:spPr>
        <p:txBody>
          <a:bodyPr vert="horz" wrap="square" lIns="87332" tIns="43666" rIns="87332" bIns="43666" numCol="1" anchor="ctr" anchorCtr="0" compatLnSpc="1">
            <a:prstTxWarp prst="textNoShape">
              <a:avLst/>
            </a:prstTxWarp>
          </a:bodyPr>
          <a:lstStyle>
            <a:lvl1pPr algn="ctr" rtl="0" eaLnBrk="1" fontAlgn="base" hangingPunct="1">
              <a:spcBef>
                <a:spcPct val="0"/>
              </a:spcBef>
              <a:spcAft>
                <a:spcPct val="0"/>
              </a:spcAft>
              <a:defRPr sz="3900">
                <a:solidFill>
                  <a:schemeClr val="tx2"/>
                </a:solidFill>
                <a:latin typeface="+mj-lt"/>
                <a:ea typeface="+mj-ea"/>
                <a:cs typeface="+mj-cs"/>
              </a:defRPr>
            </a:lvl1pPr>
            <a:lvl2pPr algn="ctr" rtl="0" eaLnBrk="1" fontAlgn="base" hangingPunct="1">
              <a:spcBef>
                <a:spcPct val="0"/>
              </a:spcBef>
              <a:spcAft>
                <a:spcPct val="0"/>
              </a:spcAft>
              <a:defRPr sz="3900">
                <a:solidFill>
                  <a:schemeClr val="tx2"/>
                </a:solidFill>
                <a:latin typeface="Tahoma" pitchFamily="34" charset="0"/>
                <a:cs typeface="Arial" charset="0"/>
              </a:defRPr>
            </a:lvl2pPr>
            <a:lvl3pPr algn="ctr" rtl="0" eaLnBrk="1" fontAlgn="base" hangingPunct="1">
              <a:spcBef>
                <a:spcPct val="0"/>
              </a:spcBef>
              <a:spcAft>
                <a:spcPct val="0"/>
              </a:spcAft>
              <a:defRPr sz="3900">
                <a:solidFill>
                  <a:schemeClr val="tx2"/>
                </a:solidFill>
                <a:latin typeface="Tahoma" pitchFamily="34" charset="0"/>
                <a:cs typeface="Arial" charset="0"/>
              </a:defRPr>
            </a:lvl3pPr>
            <a:lvl4pPr algn="ctr" rtl="0" eaLnBrk="1" fontAlgn="base" hangingPunct="1">
              <a:spcBef>
                <a:spcPct val="0"/>
              </a:spcBef>
              <a:spcAft>
                <a:spcPct val="0"/>
              </a:spcAft>
              <a:defRPr sz="3900">
                <a:solidFill>
                  <a:schemeClr val="tx2"/>
                </a:solidFill>
                <a:latin typeface="Tahoma" pitchFamily="34" charset="0"/>
                <a:cs typeface="Arial" charset="0"/>
              </a:defRPr>
            </a:lvl4pPr>
            <a:lvl5pPr algn="ctr" rtl="0" eaLnBrk="1" fontAlgn="base" hangingPunct="1">
              <a:spcBef>
                <a:spcPct val="0"/>
              </a:spcBef>
              <a:spcAft>
                <a:spcPct val="0"/>
              </a:spcAft>
              <a:defRPr sz="3900">
                <a:solidFill>
                  <a:schemeClr val="tx2"/>
                </a:solidFill>
                <a:latin typeface="Tahoma" pitchFamily="34" charset="0"/>
                <a:cs typeface="Arial" charset="0"/>
              </a:defRPr>
            </a:lvl5pPr>
            <a:lvl6pPr marL="407548" algn="ctr" rtl="0" eaLnBrk="1" fontAlgn="base" hangingPunct="1">
              <a:spcBef>
                <a:spcPct val="0"/>
              </a:spcBef>
              <a:spcAft>
                <a:spcPct val="0"/>
              </a:spcAft>
              <a:defRPr sz="3900">
                <a:solidFill>
                  <a:schemeClr val="tx2"/>
                </a:solidFill>
                <a:latin typeface="Arial" charset="0"/>
                <a:cs typeface="Arial" charset="0"/>
              </a:defRPr>
            </a:lvl6pPr>
            <a:lvl7pPr marL="815096" algn="ctr" rtl="0" eaLnBrk="1" fontAlgn="base" hangingPunct="1">
              <a:spcBef>
                <a:spcPct val="0"/>
              </a:spcBef>
              <a:spcAft>
                <a:spcPct val="0"/>
              </a:spcAft>
              <a:defRPr sz="3900">
                <a:solidFill>
                  <a:schemeClr val="tx2"/>
                </a:solidFill>
                <a:latin typeface="Arial" charset="0"/>
                <a:cs typeface="Arial" charset="0"/>
              </a:defRPr>
            </a:lvl7pPr>
            <a:lvl8pPr marL="1222644" algn="ctr" rtl="0" eaLnBrk="1" fontAlgn="base" hangingPunct="1">
              <a:spcBef>
                <a:spcPct val="0"/>
              </a:spcBef>
              <a:spcAft>
                <a:spcPct val="0"/>
              </a:spcAft>
              <a:defRPr sz="3900">
                <a:solidFill>
                  <a:schemeClr val="tx2"/>
                </a:solidFill>
                <a:latin typeface="Arial" charset="0"/>
                <a:cs typeface="Arial" charset="0"/>
              </a:defRPr>
            </a:lvl8pPr>
            <a:lvl9pPr marL="1630192" algn="ctr" rtl="0" eaLnBrk="1" fontAlgn="base" hangingPunct="1">
              <a:spcBef>
                <a:spcPct val="0"/>
              </a:spcBef>
              <a:spcAft>
                <a:spcPct val="0"/>
              </a:spcAft>
              <a:defRPr sz="3900">
                <a:solidFill>
                  <a:schemeClr val="tx2"/>
                </a:solidFill>
                <a:latin typeface="Arial" charset="0"/>
                <a:cs typeface="Arial" charset="0"/>
              </a:defRPr>
            </a:lvl9pPr>
          </a:lstStyle>
          <a:p>
            <a:pPr algn="l" eaLnBrk="0" hangingPunct="0"/>
            <a:r>
              <a:rPr lang="en-US" sz="3000" b="1" kern="0" dirty="0">
                <a:solidFill>
                  <a:srgbClr val="4A72A8"/>
                </a:solidFill>
                <a:latin typeface="Tahoma" panose="020B0604030504040204" pitchFamily="34" charset="0"/>
                <a:ea typeface="Open Sans Condensed" panose="020B0806030504020204" pitchFamily="34" charset="0"/>
                <a:cs typeface="Open Sans Condensed" panose="020B0806030504020204" pitchFamily="34" charset="0"/>
              </a:rPr>
              <a:t>The Critical Path</a:t>
            </a:r>
          </a:p>
        </p:txBody>
      </p:sp>
    </p:spTree>
    <p:extLst>
      <p:ext uri="{BB962C8B-B14F-4D97-AF65-F5344CB8AC3E}">
        <p14:creationId xmlns:p14="http://schemas.microsoft.com/office/powerpoint/2010/main" val="29971530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descr="Image result for many road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6167"/>
            <a:ext cx="12192000" cy="7306229"/>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p:cNvSpPr>
            <a:spLocks noGrp="1"/>
          </p:cNvSpPr>
          <p:nvPr>
            <p:ph type="sldNum" sz="quarter" idx="10"/>
          </p:nvPr>
        </p:nvSpPr>
        <p:spPr>
          <a:xfrm>
            <a:off x="11269236" y="6492309"/>
            <a:ext cx="454335" cy="365691"/>
          </a:xfrm>
        </p:spPr>
        <p:txBody>
          <a:bodyPr/>
          <a:lstStyle/>
          <a:p>
            <a:pPr algn="r" fontAlgn="base">
              <a:spcBef>
                <a:spcPct val="0"/>
              </a:spcBef>
              <a:spcAft>
                <a:spcPct val="0"/>
              </a:spcAft>
            </a:pPr>
            <a:fld id="{7422CD4A-2F8F-4C49-910D-A58329D88FAA}" type="slidenum">
              <a:rPr lang="en-US" sz="1286" b="1">
                <a:solidFill>
                  <a:schemeClr val="bg1"/>
                </a:solidFill>
                <a:latin typeface="Arial" pitchFamily="34" charset="0"/>
                <a:cs typeface="Arial" pitchFamily="34" charset="0"/>
              </a:rPr>
              <a:pPr algn="r" fontAlgn="base">
                <a:spcBef>
                  <a:spcPct val="0"/>
                </a:spcBef>
                <a:spcAft>
                  <a:spcPct val="0"/>
                </a:spcAft>
              </a:pPr>
              <a:t>9</a:t>
            </a:fld>
            <a:endParaRPr lang="en-US" sz="1286" b="1" dirty="0">
              <a:solidFill>
                <a:schemeClr val="bg1"/>
              </a:solidFill>
              <a:latin typeface="Arial" pitchFamily="34" charset="0"/>
              <a:cs typeface="Arial" pitchFamily="34" charset="0"/>
            </a:endParaRPr>
          </a:p>
        </p:txBody>
      </p:sp>
      <p:sp>
        <p:nvSpPr>
          <p:cNvPr id="4" name="TextBox 3"/>
          <p:cNvSpPr txBox="1"/>
          <p:nvPr/>
        </p:nvSpPr>
        <p:spPr>
          <a:xfrm>
            <a:off x="3830047" y="19508"/>
            <a:ext cx="4552849" cy="686085"/>
          </a:xfrm>
          <a:prstGeom prst="rect">
            <a:avLst/>
          </a:prstGeom>
          <a:noFill/>
        </p:spPr>
        <p:txBody>
          <a:bodyPr wrap="none" rtlCol="0">
            <a:spAutoFit/>
          </a:bodyPr>
          <a:lstStyle/>
          <a:p>
            <a:r>
              <a:rPr lang="en-US" sz="1929" b="1" dirty="0">
                <a:solidFill>
                  <a:srgbClr val="333333"/>
                </a:solidFill>
              </a:rPr>
              <a:t>Organizational &amp; Operational Factors</a:t>
            </a:r>
          </a:p>
          <a:p>
            <a:pPr algn="ctr"/>
            <a:r>
              <a:rPr lang="en-US" sz="1929" b="1" dirty="0">
                <a:solidFill>
                  <a:srgbClr val="333333"/>
                </a:solidFill>
              </a:rPr>
              <a:t>(Culture)</a:t>
            </a:r>
          </a:p>
        </p:txBody>
      </p:sp>
      <p:sp>
        <p:nvSpPr>
          <p:cNvPr id="8" name="TextBox 7"/>
          <p:cNvSpPr txBox="1"/>
          <p:nvPr/>
        </p:nvSpPr>
        <p:spPr>
          <a:xfrm>
            <a:off x="4716277" y="1295723"/>
            <a:ext cx="2783134" cy="389209"/>
          </a:xfrm>
          <a:prstGeom prst="rect">
            <a:avLst/>
          </a:prstGeom>
          <a:noFill/>
        </p:spPr>
        <p:txBody>
          <a:bodyPr wrap="none" rtlCol="0">
            <a:spAutoFit/>
          </a:bodyPr>
          <a:lstStyle/>
          <a:p>
            <a:r>
              <a:rPr lang="en-US" sz="1929" b="1" dirty="0">
                <a:solidFill>
                  <a:schemeClr val="accent5">
                    <a:lumMod val="25000"/>
                  </a:schemeClr>
                </a:solidFill>
              </a:rPr>
              <a:t>Management Systems</a:t>
            </a:r>
          </a:p>
        </p:txBody>
      </p:sp>
      <p:sp>
        <p:nvSpPr>
          <p:cNvPr id="10" name="TextBox 9"/>
          <p:cNvSpPr txBox="1"/>
          <p:nvPr/>
        </p:nvSpPr>
        <p:spPr>
          <a:xfrm>
            <a:off x="5354849" y="2448334"/>
            <a:ext cx="1423788" cy="389209"/>
          </a:xfrm>
          <a:prstGeom prst="rect">
            <a:avLst/>
          </a:prstGeom>
          <a:noFill/>
        </p:spPr>
        <p:txBody>
          <a:bodyPr wrap="none" rtlCol="0">
            <a:spAutoFit/>
          </a:bodyPr>
          <a:lstStyle/>
          <a:p>
            <a:r>
              <a:rPr lang="en-US" sz="1929" b="1" dirty="0">
                <a:solidFill>
                  <a:schemeClr val="accent5">
                    <a:lumMod val="25000"/>
                  </a:schemeClr>
                </a:solidFill>
              </a:rPr>
              <a:t>Processes</a:t>
            </a:r>
          </a:p>
        </p:txBody>
      </p:sp>
      <p:sp>
        <p:nvSpPr>
          <p:cNvPr id="11" name="TextBox 10"/>
          <p:cNvSpPr txBox="1"/>
          <p:nvPr/>
        </p:nvSpPr>
        <p:spPr>
          <a:xfrm>
            <a:off x="6504214" y="3682276"/>
            <a:ext cx="707245" cy="389209"/>
          </a:xfrm>
          <a:prstGeom prst="rect">
            <a:avLst/>
          </a:prstGeom>
          <a:noFill/>
        </p:spPr>
        <p:txBody>
          <a:bodyPr wrap="none" rtlCol="0">
            <a:spAutoFit/>
          </a:bodyPr>
          <a:lstStyle/>
          <a:p>
            <a:r>
              <a:rPr lang="en-US" sz="1929" b="1" dirty="0">
                <a:solidFill>
                  <a:srgbClr val="FF0000"/>
                </a:solidFill>
              </a:rPr>
              <a:t>Risk</a:t>
            </a:r>
          </a:p>
        </p:txBody>
      </p:sp>
      <p:sp>
        <p:nvSpPr>
          <p:cNvPr id="13" name="TextBox 12"/>
          <p:cNvSpPr txBox="1"/>
          <p:nvPr/>
        </p:nvSpPr>
        <p:spPr>
          <a:xfrm>
            <a:off x="5567701" y="5983988"/>
            <a:ext cx="1077539" cy="389209"/>
          </a:xfrm>
          <a:prstGeom prst="rect">
            <a:avLst/>
          </a:prstGeom>
          <a:noFill/>
        </p:spPr>
        <p:txBody>
          <a:bodyPr wrap="none" rtlCol="0">
            <a:spAutoFit/>
          </a:bodyPr>
          <a:lstStyle/>
          <a:p>
            <a:r>
              <a:rPr lang="en-US" sz="1929" b="1" dirty="0"/>
              <a:t>Results</a:t>
            </a:r>
          </a:p>
        </p:txBody>
      </p:sp>
      <p:sp>
        <p:nvSpPr>
          <p:cNvPr id="9" name="TextBox 8"/>
          <p:cNvSpPr txBox="1"/>
          <p:nvPr/>
        </p:nvSpPr>
        <p:spPr>
          <a:xfrm>
            <a:off x="4626429" y="3682276"/>
            <a:ext cx="1021433" cy="389209"/>
          </a:xfrm>
          <a:prstGeom prst="rect">
            <a:avLst/>
          </a:prstGeom>
          <a:noFill/>
        </p:spPr>
        <p:txBody>
          <a:bodyPr wrap="none" rtlCol="0">
            <a:spAutoFit/>
          </a:bodyPr>
          <a:lstStyle/>
          <a:p>
            <a:r>
              <a:rPr lang="en-US" sz="1929" b="1" dirty="0">
                <a:solidFill>
                  <a:srgbClr val="00B050"/>
                </a:solidFill>
              </a:rPr>
              <a:t>Benefit</a:t>
            </a:r>
          </a:p>
        </p:txBody>
      </p:sp>
      <p:cxnSp>
        <p:nvCxnSpPr>
          <p:cNvPr id="6" name="Straight Connector 5"/>
          <p:cNvCxnSpPr/>
          <p:nvPr/>
        </p:nvCxnSpPr>
        <p:spPr>
          <a:xfrm>
            <a:off x="28875" y="705593"/>
            <a:ext cx="12118206" cy="1"/>
          </a:xfrm>
          <a:prstGeom prst="line">
            <a:avLst/>
          </a:prstGeom>
          <a:ln w="28575">
            <a:solidFill>
              <a:srgbClr val="CC4129"/>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5849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PAUSE" val="1"/>
  <p:tag name="ARTICULATE_NAV_LEVEL" val="1"/>
  <p:tag name="ARTICULATE_PLAYLIST_ID" val="-1"/>
  <p:tag name="ARTICULATE_LOCK_SLIDE" val="0"/>
  <p:tag name="ARTICULATE_SLIDE_NAV" val="5"/>
  <p:tag name="ARTICULATE_SLIDE_GUID" val="f458b818-c325-4945-9f75-ca779380dbc2"/>
</p:tagLst>
</file>

<file path=ppt/theme/theme1.xml><?xml version="1.0" encoding="utf-8"?>
<a:theme xmlns:a="http://schemas.openxmlformats.org/drawingml/2006/main" name="Collins Masters: Covers">
  <a:themeElements>
    <a:clrScheme name="1: RTX PRIMARY PALETTE">
      <a:dk1>
        <a:sysClr val="windowText" lastClr="000000"/>
      </a:dk1>
      <a:lt1>
        <a:sysClr val="window" lastClr="FFFFFF"/>
      </a:lt1>
      <a:dk2>
        <a:srgbClr val="CE1126"/>
      </a:dk2>
      <a:lt2>
        <a:srgbClr val="FFFFFF"/>
      </a:lt2>
      <a:accent1>
        <a:srgbClr val="000000"/>
      </a:accent1>
      <a:accent2>
        <a:srgbClr val="63666A"/>
      </a:accent2>
      <a:accent3>
        <a:srgbClr val="B1B3B3"/>
      </a:accent3>
      <a:accent4>
        <a:srgbClr val="D9D9D6"/>
      </a:accent4>
      <a:accent5>
        <a:srgbClr val="F7F7F7"/>
      </a:accent5>
      <a:accent6>
        <a:srgbClr val="FFFFFF"/>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Collins_PPT_Non_tech_data_16x9_internal" id="{B82BE9C0-C93E-B342-83A7-9B688A9500D2}" vid="{3BB40FCB-6667-1E47-BE2D-5EA748AB28C3}"/>
    </a:ext>
  </a:extLst>
</a:theme>
</file>

<file path=ppt/theme/theme2.xml><?xml version="1.0" encoding="utf-8"?>
<a:theme xmlns:a="http://schemas.openxmlformats.org/drawingml/2006/main" name="Collins Masters: Content">
  <a:themeElements>
    <a:clrScheme name="Collins Color Pallet">
      <a:dk1>
        <a:srgbClr val="000000"/>
      </a:dk1>
      <a:lt1>
        <a:srgbClr val="FFFFFF"/>
      </a:lt1>
      <a:dk2>
        <a:srgbClr val="CE1126"/>
      </a:dk2>
      <a:lt2>
        <a:srgbClr val="D9D9D6"/>
      </a:lt2>
      <a:accent1>
        <a:srgbClr val="63666A"/>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Collins_PPT_Non_tech_data_16x9_internal" id="{B82BE9C0-C93E-B342-83A7-9B688A9500D2}" vid="{736E1B27-418E-A544-8BD2-C60B214F16BB}"/>
    </a:ext>
  </a:extLst>
</a:theme>
</file>

<file path=ppt/theme/theme3.xml><?xml version="1.0" encoding="utf-8"?>
<a:theme xmlns:a="http://schemas.openxmlformats.org/drawingml/2006/main" name="Collins Masters: Section Breakers">
  <a:themeElements>
    <a:clrScheme name="RTX GRAYSCALE">
      <a:dk1>
        <a:sysClr val="windowText" lastClr="000000"/>
      </a:dk1>
      <a:lt1>
        <a:sysClr val="window" lastClr="FFFFFF"/>
      </a:lt1>
      <a:dk2>
        <a:srgbClr val="CE1126"/>
      </a:dk2>
      <a:lt2>
        <a:srgbClr val="FFFFFF"/>
      </a:lt2>
      <a:accent1>
        <a:srgbClr val="000000"/>
      </a:accent1>
      <a:accent2>
        <a:srgbClr val="63666A"/>
      </a:accent2>
      <a:accent3>
        <a:srgbClr val="B1B3B3"/>
      </a:accent3>
      <a:accent4>
        <a:srgbClr val="D9D9D6"/>
      </a:accent4>
      <a:accent5>
        <a:srgbClr val="F7F7F7"/>
      </a:accent5>
      <a:accent6>
        <a:srgbClr val="FFFFFF"/>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Collins_PPT_Non_tech_data_16x9_internal" id="{B82BE9C0-C93E-B342-83A7-9B688A9500D2}" vid="{C72CEE75-4C1B-8C4B-913A-B0BE5F6E8D95}"/>
    </a:ext>
  </a:extLst>
</a:theme>
</file>

<file path=ppt/theme/theme4.xml><?xml version="1.0" encoding="utf-8"?>
<a:theme xmlns:a="http://schemas.openxmlformats.org/drawingml/2006/main" name="1_Collins Masters: Content">
  <a:themeElements>
    <a:clrScheme name="Collins Color Pallet">
      <a:dk1>
        <a:srgbClr val="000000"/>
      </a:dk1>
      <a:lt1>
        <a:srgbClr val="FFFFFF"/>
      </a:lt1>
      <a:dk2>
        <a:srgbClr val="CE1126"/>
      </a:dk2>
      <a:lt2>
        <a:srgbClr val="D9D9D6"/>
      </a:lt2>
      <a:accent1>
        <a:srgbClr val="63666A"/>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Collins_PPT_Non_tech_data_16x9_internal" id="{B82BE9C0-C93E-B342-83A7-9B688A9500D2}" vid="{736E1B27-418E-A544-8BD2-C60B214F16BB}"/>
    </a:ext>
  </a:extLst>
</a:theme>
</file>

<file path=ppt/theme/theme5.xml><?xml version="1.0" encoding="utf-8"?>
<a:theme xmlns:a="http://schemas.openxmlformats.org/drawingml/2006/main" name="2_Collins Masters: Content">
  <a:themeElements>
    <a:clrScheme name="Collins Color Pallet">
      <a:dk1>
        <a:srgbClr val="000000"/>
      </a:dk1>
      <a:lt1>
        <a:srgbClr val="FFFFFF"/>
      </a:lt1>
      <a:dk2>
        <a:srgbClr val="CE1126"/>
      </a:dk2>
      <a:lt2>
        <a:srgbClr val="D9D9D6"/>
      </a:lt2>
      <a:accent1>
        <a:srgbClr val="63666A"/>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Collins_PPT_Non_tech_data_16x9_internal" id="{B82BE9C0-C93E-B342-83A7-9B688A9500D2}" vid="{736E1B27-418E-A544-8BD2-C60B214F16BB}"/>
    </a:ext>
  </a:extLst>
</a:theme>
</file>

<file path=ppt/theme/theme6.xml><?xml version="1.0" encoding="utf-8"?>
<a:theme xmlns:a="http://schemas.openxmlformats.org/drawingml/2006/main" name="3_Collins Masters: Content">
  <a:themeElements>
    <a:clrScheme name="Collins Color Pallet">
      <a:dk1>
        <a:srgbClr val="000000"/>
      </a:dk1>
      <a:lt1>
        <a:srgbClr val="FFFFFF"/>
      </a:lt1>
      <a:dk2>
        <a:srgbClr val="CE1126"/>
      </a:dk2>
      <a:lt2>
        <a:srgbClr val="D9D9D6"/>
      </a:lt2>
      <a:accent1>
        <a:srgbClr val="63666A"/>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ew_Collins_PPT_Non_tech_data_16x9" id="{5A81058B-B678-7D4C-9CDE-E0871D5964F8}" vid="{46EB00C2-1F74-1C4E-9BE9-A22EF18667F1}"/>
    </a:ext>
  </a:extLst>
</a:theme>
</file>

<file path=ppt/theme/theme7.xml><?xml version="1.0" encoding="utf-8"?>
<a:theme xmlns:a="http://schemas.openxmlformats.org/drawingml/2006/main" name="4_Collins Masters: Content">
  <a:themeElements>
    <a:clrScheme name="Collins Color Pallet">
      <a:dk1>
        <a:srgbClr val="000000"/>
      </a:dk1>
      <a:lt1>
        <a:srgbClr val="FFFFFF"/>
      </a:lt1>
      <a:dk2>
        <a:srgbClr val="CE1126"/>
      </a:dk2>
      <a:lt2>
        <a:srgbClr val="D9D9D6"/>
      </a:lt2>
      <a:accent1>
        <a:srgbClr val="63666A"/>
      </a:accent1>
      <a:accent2>
        <a:srgbClr val="B7A99A"/>
      </a:accent2>
      <a:accent3>
        <a:srgbClr val="7BA7BC"/>
      </a:accent3>
      <a:accent4>
        <a:srgbClr val="EFB661"/>
      </a:accent4>
      <a:accent5>
        <a:srgbClr val="908CC2"/>
      </a:accent5>
      <a:accent6>
        <a:srgbClr val="9ABEC0"/>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ollins_PowerPoint_Non_technical_data_16x9" id="{04AC40E2-E9DB-0F46-B120-0BFF326BB9DF}" vid="{5DA8CED0-9152-C94E-8366-8C419A48CA47}"/>
    </a:ext>
  </a:extLst>
</a:theme>
</file>

<file path=ppt/theme/theme8.xml><?xml version="1.0" encoding="utf-8"?>
<a:theme xmlns:a="http://schemas.openxmlformats.org/drawingml/2006/main" name="Office Theme">
  <a:themeElements>
    <a:clrScheme name="RTX Colors">
      <a:dk1>
        <a:sysClr val="windowText" lastClr="000000"/>
      </a:dk1>
      <a:lt1>
        <a:sysClr val="window" lastClr="FFFFFF"/>
      </a:lt1>
      <a:dk2>
        <a:srgbClr val="CE1126"/>
      </a:dk2>
      <a:lt2>
        <a:srgbClr val="FFFFFF"/>
      </a:lt2>
      <a:accent1>
        <a:srgbClr val="000000"/>
      </a:accent1>
      <a:accent2>
        <a:srgbClr val="464648"/>
      </a:accent2>
      <a:accent3>
        <a:srgbClr val="6B6B6D"/>
      </a:accent3>
      <a:accent4>
        <a:srgbClr val="89898A"/>
      </a:accent4>
      <a:accent5>
        <a:srgbClr val="B8B8B9"/>
      </a:accent5>
      <a:accent6>
        <a:srgbClr val="D4D4D5"/>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RTX Colors">
      <a:dk1>
        <a:sysClr val="windowText" lastClr="000000"/>
      </a:dk1>
      <a:lt1>
        <a:sysClr val="window" lastClr="FFFFFF"/>
      </a:lt1>
      <a:dk2>
        <a:srgbClr val="CE1126"/>
      </a:dk2>
      <a:lt2>
        <a:srgbClr val="FFFFFF"/>
      </a:lt2>
      <a:accent1>
        <a:srgbClr val="000000"/>
      </a:accent1>
      <a:accent2>
        <a:srgbClr val="464648"/>
      </a:accent2>
      <a:accent3>
        <a:srgbClr val="6B6B6D"/>
      </a:accent3>
      <a:accent4>
        <a:srgbClr val="89898A"/>
      </a:accent4>
      <a:accent5>
        <a:srgbClr val="B8B8B9"/>
      </a:accent5>
      <a:accent6>
        <a:srgbClr val="D4D4D5"/>
      </a:accent6>
      <a:hlink>
        <a:srgbClr val="CE1126"/>
      </a:hlink>
      <a:folHlink>
        <a:srgbClr val="000000"/>
      </a:folHlink>
    </a:clrScheme>
    <a:fontScheme name="RTX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WrappedLabelHistory xmlns:xsi="http://www.w3.org/2001/XMLSchema-instance" xmlns:xsd="http://www.w3.org/2001/XMLSchema" xmlns="http://www.boldonjames.com/2016/02/Classifier/internal/wrappedLabelHistory">
  <Value>PD94bWwgdmVyc2lvbj0iMS4wIiBlbmNvZGluZz0idXMtYXNjaWkiPz48bGFiZWxIaXN0b3J5IHhtbG5zOnhzaT0iaHR0cDovL3d3dy53My5vcmcvMjAwMS9YTUxTY2hlbWEtaW5zdGFuY2UiIHhtbG5zOnhzZD0iaHR0cDovL3d3dy53My5vcmcvMjAwMS9YTUxTY2hlbWEiIHhtbG5zPSJodHRwOi8vd3d3LmJvbGRvbmphbWVzLmNvbS8yMDE2LzAyL0NsYXNzaWZpZXIvaW50ZXJuYWwvbGFiZWxIaXN0b3J5Ij48aXRlbT48c2lzbCBzaXNsVmVyc2lvbj0iMCIgcG9saWN5PSJjZGU1M2FjMS1iZjVmLTRhYWUtOWNmMS0wNzUwOWUyM2E0YjAiIG9yaWdpbj0iZGVmYXVsdFZhbHVlIj48ZWxlbWVudCB1aWQ9ImJiYTk0YzY1LWFjM2QtNGYzNC1iMmUxLThkZTExZWY2ZjAxYyIgdmFsdWU9IiIgeG1sbnM9Imh0dHA6Ly93d3cuYm9sZG9uamFtZXMuY29tLzIwMDgvMDEvc2llL2ludGVybmFsL2xhYmVsIiAvPjwvc2lzbD48VXNlck5hbWU+VVNcbnJwMDI0MTU4MjwvVXNlck5hbWU+PERhdGVUaW1lPjIvMTIvMjAyMCAyOjQ5OjE3IFBNPC9EYXRlVGltZT48TGFiZWxTdHJpbmc+T3JpZ2luIEp1cmlzZGljdGlvbjogVVMgPC9MYWJlbFN0cmluZz48L2l0ZW0+PGl0ZW0+PHNpc2wgc2lzbFZlcnNpb249IjAiIHBvbGljeT0iY2RlNTNhYzEtYmY1Zi00YWFlLTljZjEtMDc1MDllMjNhNGIwIiBvcmlnaW49InVzZXJTZWxlY3RlZCI+PGVsZW1lbnQgdWlkPSJiYmE5NGM2NS1hYzNkLTRmMzQtYjJlMS04ZGUxMWVmNmYwMWMiIHZhbHVlPSIiIHhtbG5zPSJodHRwOi8vd3d3LmJvbGRvbmphbWVzLmNvbS8yMDA4LzAxL3NpZS9pbnRlcm5hbC9sYWJlbCIgLz48ZWxlbWVudCB1aWQ9IjU5OGNmYzI4LTVkZmQtNGYwNi04YzAxLWM3NTg4ZmQzOTRmMCIgdmFsdWU9IiIgeG1sbnM9Imh0dHA6Ly93d3cuYm9sZG9uamFtZXMuY29tLzIwMDgvMDEvc2llL2ludGVybmFsL2xhYmVsIiAvPjxlbGVtZW50IHVpZD0iYWFmYzlhOTUtZWU1ZC00ODdjLTljNGUtNjdhNTM4MGYyOTkxIiB2YWx1ZT0iIiB4bWxucz0iaHR0cDovL3d3dy5ib2xkb25qYW1lcy5jb20vMjAwOC8wMS9zaWUvaW50ZXJuYWwvbGFiZWwiIC8+PGVsZW1lbnQgdWlkPSJkNzU5Y2Q3YS1iNTdjLTQyZTQtOWE0OS05YjgyYTIzMzc1NzkiIHZhbHVlPSIiIHhtbG5zPSJodHRwOi8vd3d3LmJvbGRvbmphbWVzLmNvbS8yMDA4LzAxL3NpZS9pbnRlcm5hbC9sYWJlbCIgLz48ZWxlbWVudCB1aWQ9ImMyMDZkNWZhLWFlZTEtNGY2NC04OWQ5LWY4MWU0ZDdiM2FjYyIgdmFsdWU9IiIgeG1sbnM9Imh0dHA6Ly93d3cuYm9sZG9uamFtZXMuY29tLzIwMDgvMDEvc2llL2ludGVybmFsL2xhYmVsIiAvPjwvc2lzbD48VXNlck5hbWU+VVNcbnJwMDI0MTU4MjwvVXNlck5hbWU+PERhdGVUaW1lPjIvMTIvMjAyMCAzOjAzOjA5IFBNPC9EYXRlVGltZT48TGFiZWxTdHJpbmc+T3JpZ2luIEp1cmlzZGljdGlvbjogVVMgIHwgUmF5dGhlb24gQ29tcGV0aXRpb24gU2Vuc2l0aXZlIHwgUGVyIEN1cnJlbnQgUmF5dGhlb24gUG9saWN5IChSUC1PR0MtMDM1KSB8IE5vbi1FeHBvcnQgQ29udHJvbGxlZCBUZWNobmljYWwgSW5mb3JtYXRpb24gKEVYSU0gRGV0ZXJtaW5lZCBPbmx5KSB8IFBlciBDdXJyZW50IFJheXRoZW9uIFBvbGljeSAoUEktT0dDLUdUQy01MDA0KT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I5OTdhNzE2ZS1jMDNmLTQzYjEtYTViMC1kNmNkMDRlOWJh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2FlMTFhNmItMjFiMS00OWQ4LTk5ZDgtZWQzMDY4NTEzODRhIiB2YWx1ZT0iIiB4bWxucz0iaHR0cDovL3d3dy5ib2xkb25qYW1lcy5jb20vMjAwOC8wMS9zaWUvaW50ZXJuYWwvbGFiZWwiIC8+PGVsZW1lbnQgdWlkPSJjMjA2ZDVmYS1hZWUxLTRmNjQtODlkOS1mODFlNGQ3YjNhY2MiIHZhbHVlPSIiIHhtbG5zPSJodHRwOi8vd3d3LmJvbGRvbmphbWVzLmNvbS8yMDA4LzAxL3NpZS9pbnRlcm5hbC9sYWJlbCIgLz48L3Npc2w+PFVzZXJOYW1lPlVTXG5ycDAyNDE1ODI8L1VzZXJOYW1lPjxEYXRlVGltZT4yLzEyLzIwMjAgMzoyODo1NyBQTTwvRGF0ZVRpbWU+PExhYmVsU3RyaW5nPk9yaWdpbiBKdXJpc2RpY3Rpb246IFVTICB8IFJheXRoZW9uIFByb3ByaWV0YXJ5IHwgUGVyIEN1cnJlbnQgUmF5dGhlb24gUG9saWN5IChSUC1PR0MtMDM1KSB8IFVTLUlUQVIgQ29udHJvbGxlZCB8IFBlciBDdXJyZW50IFJheXRoZW9uIFBvbGljeSAoUEktT0dDLUdUQy01MDA0KT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IwMTJlYjIyYy03NmNhLTRlNGYtOGFiOS1mYWJiMDU0YWUx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G5ycDAyNDE1ODI8L1VzZXJOYW1lPjxEYXRlVGltZT4yLzE0LzIwMjAgNDo0Mjo0NCBQTTwvRGF0ZVRpbWU+PExhYmVsU3RyaW5nPk9yaWdpbiBKdXJpc2RpY3Rpb246IFVTICB8IFJheXRoZW9uIE1vc3QgUHJpdmF0ZSB8IFBlciBDdXJyZW50IFJheXRoZW9uIFBvbGljeSAoUlAtT0dDLTAzNSkgfCBPdGhlciBJbmZvcm1hdGlvbiAoTm90IFJlcXVpcmluZyBhbiBFeHBvcnQgQ29udHJvbCBNYXJraW5nKSB8IE5vIG1hcmtpbmcgYXBwbGllZCBieSB0aGUgdG9vbD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I5OTdhNzE2ZS1jMDNmLTQzYjEtYTViMC1kNmNkMDRlOWJhNDA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ZmI5OTEzMDgtYTNkZS00MGE4LTk2N2ItMDkyMjMzNDI0MWJhIiB2YWx1ZT0iIiB4bWxucz0iaHR0cDovL3d3dy5ib2xkb25qYW1lcy5jb20vMjAwOC8wMS9zaWUvaW50ZXJuYWwvbGFiZWwiIC8+PGVsZW1lbnQgdWlkPSJjMjA2ZDVmYS1hZWUxLTRmNjQtODlkOS1mODFlNGQ3YjNhY2MiIHZhbHVlPSIiIHhtbG5zPSJodHRwOi8vd3d3LmJvbGRvbmphbWVzLmNvbS8yMDA4LzAxL3NpZS9pbnRlcm5hbC9sYWJlbCIgLz48L3Npc2w+PFVzZXJOYW1lPlVTXG5ycDAyNDE1ODI8L1VzZXJOYW1lPjxEYXRlVGltZT4yLzE0LzIwMjAgNjoyOTozNCBQTTwvRGF0ZVRpbWU+PExhYmVsU3RyaW5nPk9yaWdpbiBKdXJpc2RpY3Rpb246IFVTICB8IFJheXRoZW9uIFByb3ByaWV0YXJ5IHwgUGVyIEN1cnJlbnQgUmF5dGhlb24gUG9saWN5IChSUC1PR0MtMDM1KSB8IFVTLUV4cG9ydCBDb250cm9sbGVkIEp1cmlzZGljdGlvbiBVbmRldGVybWluZWQgfCBQZXIgQ3VycmVudCBSYXl0aGVvbiBQb2xpY3kgKFBJLU9HQy1HVEMtNTAwNCk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YWNmOWVjYzMtMGY0NS00MjM0LWE5MGQtZTQzNjhmYWNkOTgx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PC9zaXNsPjxVc2VyTmFtZT5VU1xucnAwMjQxNTgyPC9Vc2VyTmFtZT48RGF0ZVRpbWU+Mi8xNy8yMDIwIDg6Mjg6MzEgUE08L0RhdGVUaW1lPjxMYWJlbFN0cmluZz5PcmlnaW4gSnVyaXNkaWN0aW9uOiBVUyAgfCBJbnRlcm5hbCBVc2UgT25seSB8IFBlciBDdXJyZW50IFJheXRoZW9uIFBvbGljeSAoUlAtT0dDLTAzNSkgfCBVUy1FeHBvcnQgQ29udHJvbGxlZCBKdXJpc2RpY3Rpb24gVW5kZXRlcm1pbmVkIHwgUGVyIEN1cnJlbnQgUmF5dGhlb24gUG9saWN5IChQSS1PR0MtR1RDLTUwMDQpPC9MYWJlbFN0cmluZz48L2l0ZW0+PGl0ZW0+PHNpc2wgc2lzbFZlcnNpb249IjAiIHBvbGljeT0iY2RlNTNhYzEtYmY1Zi00YWFlLTljZjEtMDc1MDllMjNhNGIwIiBvcmlnaW49InVzZXJTZWxlY3RlZCI+PGVsZW1lbnQgdWlkPSJiYmE5NGM2NS1hYzNkLTRmMzQtYjJlMS04ZGUxMWVmNmYwMWMiIHZhbHVlPSIiIHhtbG5zPSJodHRwOi8vd3d3LmJvbGRvbmphbWVzLmNvbS8yMDA4LzAxL3NpZS9pbnRlcm5hbC9sYWJlbCIgLz48ZWxlbWVudCB1aWQ9Ijk5N2E3MTZlLWMwM2YtNDNiMS1hNWIwLWQ2Y2QwNGU5YmE0MCIgdmFsdWU9IiIgeG1sbnM9Imh0dHA6Ly93d3cuYm9sZG9uamFtZXMuY29tLzIwMDgvMDEvc2llL2ludGVybmFsL2xhYmVsIiAvPjxlbGVtZW50IHVpZD0iYWFmYzlhOTUtZWU1ZC00ODdjLTljNGUtNjdhNTM4MGYyOTkxIiB2YWx1ZT0iIiB4bWxucz0iaHR0cDovL3d3dy5ib2xkb25qYW1lcy5jb20vMjAwOC8wMS9zaWUvaW50ZXJuYWwvbGFiZWwiIC8+PGVsZW1lbnQgdWlkPSJiYzJiN2MwMS02ZGIxLTRlN2QtODhkMS1mYzYxNjc0Zjg2ZmQiIHZhbHVlPSIiIHhtbG5zPSJodHRwOi8vd3d3LmJvbGRvbmphbWVzLmNvbS8yMDA4LzAxL3NpZS9pbnRlcm5hbC9sYWJlbCIgLz48ZWxlbWVudCB1aWQ9IjkyZTk5M2EzLWFmMzItNGFmYi1hYTE5LTNhNDljZGI4MmM3YSIgdmFsdWU9IiIgeG1sbnM9Imh0dHA6Ly93d3cuYm9sZG9uamFtZXMuY29tLzIwMDgvMDEvc2llL2ludGVybmFsL2xhYmVsIiAvPjwvc2lzbD48VXNlck5hbWU+VVNcbnJwMDI0MTU4MjwvVXNlck5hbWU+PERhdGVUaW1lPjIvMTgvMjAyMCA0OjU4OjI4IFBNPC9EYXRlVGltZT48TGFiZWxTdHJpbmc+T3JpZ2luIEp1cmlzZGljdGlvbjogVVMgIHwgUmF5dGhlb24gUHJvcHJpZXRhcnk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MDEyZWIyMmMtNzZjYS00ZTRmLThhYjktZmFiYjA1NGFlMTQw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PC9zaXNsPjxVc2VyTmFtZT5VU1xucnAwMjQxNTgyPC9Vc2VyTmFtZT48RGF0ZVRpbWU+Mi8xOC8yMDIwIDU6MDA6MTYgUE08L0RhdGVUaW1lPjxMYWJlbFN0cmluZz5PcmlnaW4gSnVyaXNkaWN0aW9uOiBVUyAgfCBSYXl0aGVvbiBNb3N0IFByaXZhdGUgfCBQZXIgQ3VycmVudCBSYXl0aGVvbiBQb2xpY3kgKFJQLU9HQy0wMzUpIHwgVVMtRXhwb3J0IENvbnRyb2xsZWQgSnVyaXNkaWN0aW9uIFVuZGV0ZXJtaW5lZCB8IFBlciBDdXJyZW50IFJheXRoZW9uIFBvbGljeSAoUEktT0dDLUdUQy01MDA0KTwvTGFiZWxTdHJpbmc+PC9pdGVtPjxpdGVtPjxzaXNsIHNpc2xWZXJzaW9uPSIwIiBwb2xpY3k9ImNkZTUzYWMxLWJmNWYtNGFhZS05Y2YxLTA3NTA5ZTIzYTRiMCIgb3JpZ2luPSJ1c2VyU2VsZWN0ZWQiPjxlbGVtZW50IHVpZD0iYmJhOTRjNjUtYWMzZC00ZjM0LWIyZTEtOGRlMTFlZjZmMDFjIiB2YWx1ZT0iIiB4bWxucz0iaHR0cDovL3d3dy5ib2xkb25qYW1lcy5jb20vMjAwOC8wMS9zaWUvaW50ZXJuYWwvbGFiZWwiIC8+PGVsZW1lbnQgdWlkPSJhY2Y5ZWNjMy0wZjQ1LTQyMzQtYTkwZC1lNDM2OGZhY2Q5ODEiIHZhbHVlPSIiIHhtbG5zPSJodHRwOi8vd3d3LmJvbGRvbmphbWVzLmNvbS8yMDA4LzAxL3NpZS9pbnRlcm5hbC9sYWJlbCIgLz48ZWxlbWVudCB1aWQ9ImFhZmM5YTk1LWVlNWQtNDg3Yy05YzRlLTY3YTUzODBmMjk5MS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G5ycDAyNDE1ODI8L1VzZXJOYW1lPjxEYXRlVGltZT4zLzcvMjAyMCA4OjIzOjM2IFBNPC9EYXRlVGltZT48TGFiZWxTdHJpbmc+T3JpZ2luIEp1cmlzZGljdGlvbjogVVMgIHwgSW50ZXJuYWwgVXNlIE9ubHkgfCBQZXIgQ3VycmVudCBSYXl0aGVvbiBQb2xpY3kgKFJQLU9HQy0wMzUpIHwgT3RoZXIgSW5mb3JtYXRpb24gKE5vdCBSZXF1aXJpbmcgYW4gRXhwb3J0IENvbnRyb2wgTWFya2luZykgfCBObyBtYXJraW5nIGFwcGxpZWQgYnkgdGhlIHRvb2w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OTk3YTcxNmUtYzAzZi00M2IxLWE1YjAtZDZjZDA0ZTliYTQw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ZiOTkxMzA4LWEzZGUtNDBhOC05NjdiLTA5MjIzMzQyNDFiYSIgdmFsdWU9IiIgeG1sbnM9Imh0dHA6Ly93d3cuYm9sZG9uamFtZXMuY29tLzIwMDgvMDEvc2llL2ludGVybmFsL2xhYmVsIiAvPjxlbGVtZW50IHVpZD0iYzIwNmQ1ZmEtYWVlMS00ZjY0LTg5ZDktZjgxZTRkN2IzYWNjIiB2YWx1ZT0iIiB4bWxucz0iaHR0cDovL3d3dy5ib2xkb25qYW1lcy5jb20vMjAwOC8wMS9zaWUvaW50ZXJuYWwvbGFiZWwiIC8+PC9zaXNsPjxVc2VyTmFtZT5VU1xucnAwMjQxNTgyPC9Vc2VyTmFtZT48RGF0ZVRpbWU+My83LzIwMjAgODoyNDo0OSBQTTwvRGF0ZVRpbWU+PExhYmVsU3RyaW5nPk9yaWdpbiBKdXJpc2RpY3Rpb246IFVTICB8IFJheXRoZW9uIFByb3ByaWV0YXJ5IHwgUGVyIEN1cnJlbnQgUmF5dGhlb24gUG9saWN5IChSUC1PR0MtMDM1KSB8IFVTLUV4cG9ydCBDb250cm9sbGVkIEp1cmlzZGljdGlvbiBVbmRldGVybWluZWQgfCBQZXIgQ3VycmVudCBSYXl0aGVvbiBQb2xpY3kgKFBJLU9HQy1HVEMtNTAwNCk8L0xhYmVsU3RyaW5nPjwvaXRlbT48aXRlbT48c2lzbCBzaXNsVmVyc2lvbj0iMCIgcG9saWN5PSJjZGU1M2FjMS1iZjVmLTRhYWUtOWNmMS0wNzUwOWUyM2E0YjAiIG9yaWdpbj0idXNlclNlbGVjdGVkIj48ZWxlbWVudCB1aWQ9ImJiYTk0YzY1LWFjM2QtNGYzNC1iMmUxLThkZTExZWY2ZjAxYyIgdmFsdWU9IiIgeG1sbnM9Imh0dHA6Ly93d3cuYm9sZG9uamFtZXMuY29tLzIwMDgvMDEvc2llL2ludGVybmFsL2xhYmVsIiAvPjxlbGVtZW50IHVpZD0iZmI5OTEzMDgtYTNkZS00MGE4LTk2N2ItMDkyMjMzNDI0MWJhIiB2YWx1ZT0iIiB4bWxucz0iaHR0cDovL3d3dy5ib2xkb25qYW1lcy5jb20vMjAwOC8wMS9zaWUvaW50ZXJuYWwvbGFiZWwiIC8+PGVsZW1lbnQgdWlkPSJjMjA2ZDVmYS1hZWUxLTRmNjQtODlkOS1mODFlNGQ3YjNhY2MiIHZhbHVlPSIiIHhtbG5zPSJodHRwOi8vd3d3LmJvbGRvbmphbWVzLmNvbS8yMDA4LzAxL3NpZS9pbnRlcm5hbC9sYWJlbCIgLz48ZWxlbWVudCB1aWQ9ImFjZjllY2MzLTBmNDUtNDIzNC1hOTBkLWU0MzY4ZmFjZDk4MSIgdmFsdWU9IiIgeG1sbnM9Imh0dHA6Ly93d3cuYm9sZG9uamFtZXMuY29tLzIwMDgvMDEvc2llL2ludGVybmFsL2xhYmVsIiAvPjxlbGVtZW50IHVpZD0iYWFmYzlhOTUtZWU1ZC00ODdjLTljNGUtNjdhNTM4MGYyOTkxIiB2YWx1ZT0iIiB4bWxucz0iaHR0cDovL3d3dy5ib2xkb25qYW1lcy5jb20vMjAwOC8wMS9zaWUvaW50ZXJuYWwvbGFiZWwiIC8+PC9zaXNsPjxVc2VyTmFtZT5VU1wxMTAzMDg1PC9Vc2VyTmFtZT48RGF0ZVRpbWU+My8xMi8yMDIwIDY6MjM6MjMgUE08L0RhdGVUaW1lPjxMYWJlbFN0cmluZz5PcmlnaW4gSnVyaXNkaWN0aW9uOiBVUyAgfCBJbnRlcm5hbCBVc2UgT25seSB8IFBlciBDdXJyZW50IFJheXRoZW9uIFBvbGljeSAoUlAtT0dDLTAzNSkgfCBVUy1FeHBvcnQgQ29udHJvbGxlZCBKdXJpc2RpY3Rpb24gVW5kZXRlcm1pbmVkIHwgUGVyIEN1cnJlbnQgUmF5dGhlb24gUG9saWN5IChQSS1PR0MtR1RDLTUwMDQpPC9MYWJlbFN0cmluZz48L2l0ZW0+PGl0ZW0+PHNpc2wgc2lzbFZlcnNpb249IjAiIHBvbGljeT0iY2RlNTNhYzEtYmY1Zi00YWFlLTljZjEtMDc1MDllMjNhNGIwIiBvcmlnaW49InVzZXJTZWxlY3RlZCIgLz48VXNlck5hbWU+VVNcMTEwMzA4NTwvVXNlck5hbWU+PERhdGVUaW1lPjMvMTMvMjAyMCAxMDowMjo0NCBQTTwvRGF0ZVRpbWU+PExhYmVsU3RyaW5nPlRoaXMgYXJ0aWZhY3QgaGFzIG5vIGNsYXNzaWZpY2F0aW9uLjwvTGFiZWxTdHJpbmc+PC9pdGVtPjxpdGVtPjxzaXNsIHNpc2xWZXJzaW9uPSIwIiBwb2xpY3k9ImNkZTUzYWMxLWJmNWYtNGFhZS05Y2YxLTA3NTA5ZTIzYTRiMCIgb3JpZ2luPSJ1c2VyU2VsZWN0ZWQiPjxlbGVtZW50IHVpZD0iMTVmZWZhMWMtYWY2Ny00ZWJmLWE3MWQtZjAxNjIxMTY4OTYyIiB2YWx1ZT0iIiB4bWxucz0iaHR0cDovL3d3dy5ib2xkb25qYW1lcy5jb20vMjAwOC8wMS9zaWUvaW50ZXJuYWwvbGFiZWwiIC8+PGVsZW1lbnQgdWlkPSJhYWZjOWE5NS1lZTVkLTQ4N2MtOWM0ZS02N2E1MzgwZjI5OTEiIHZhbHVlPSIiIHhtbG5zPSJodHRwOi8vd3d3LmJvbGRvbmphbWVzLmNvbS8yMDA4LzAxL3NpZS9pbnRlcm5hbC9sYWJlbCIgLz48ZWxlbWVudCB1aWQ9ImJiYTk0YzY1LWFjM2QtNGYzNC1iMmUxLThkZTExZWY2ZjAxYy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DExMDMwODU8L1VzZXJOYW1lPjxEYXRlVGltZT4zLzEzLzIwMjAgMTA6MDU6NDQgUE08L0RhdGVUaW1lPjxMYWJlbFN0cmluZz5PcmlnaW4gSnVyaXNkaWN0aW9uOiBVUyAgfCBUaGlyZCBQYXJ0eSBQcm9wcmlldGFyeSAtIE5lZWQgdG8gS25vdyB8IFBlciBDdXJyZW50IFJheXRoZW9uIFBvbGljeSAoUlAtT0dDLTAzNSkgfCBPdGhlciBJbmZvcm1hdGlvbiAoTm90IFJlcXVpcmluZyBhbiBFeHBvcnQgQ29udHJvbCBNYXJraW5nKSB8IE5vIG1hcmtpbmcgYXBwbGllZCBieSB0aGUgdG9vbDwvTGFiZWxTdHJpbmc+PC9pdGVtPjxpdGVtPjxzaXNsIHNpc2xWZXJzaW9uPSIwIiBwb2xpY3k9ImNkZTUzYWMxLWJmNWYtNGFhZS05Y2YxLTA3NTA5ZTIzYTRiMCIgb3JpZ2luPSJ1c2VyU2VsZWN0ZWQiIC8+PFVzZXJOYW1lPlVTXG5ycDAyNDE1ODI8L1VzZXJOYW1lPjxEYXRlVGltZT4zLzMwLzIwMjAgMTo1MzoxNyBQTTwvRGF0ZVRpbWU+PExhYmVsU3RyaW5nPlRoaXMgYXJ0aWZhY3QgaGFzIG5vIGNsYXNzaWZpY2F0aW9uLjwvTGFiZWxTdHJpbmc+PC9pdGVtPjxpdGVtPjxzaXNsIHNpc2xWZXJzaW9uPSIwIiBwb2xpY3k9ImNkZTUzYWMxLWJmNWYtNGFhZS05Y2YxLTA3NTA5ZTIzYTRiMCIgb3JpZ2luPSJ1c2VyU2VsZWN0ZWQiPjxlbGVtZW50IHVpZD0iMTVmZWZhMWMtYWY2Ny00ZWJmLWE3MWQtZjAxNjIxMTY4OTYyIiB2YWx1ZT0iIiB4bWxucz0iaHR0cDovL3d3dy5ib2xkb25qYW1lcy5jb20vMjAwOC8wMS9zaWUvaW50ZXJuYWwvbGFiZWwiIC8+PGVsZW1lbnQgdWlkPSJhMDZkYTRkYS1hMjYzLTQxMzYtYjRmZC1mMjhhMTdkMzAxODgiIHZhbHVlPSIiIHhtbG5zPSJodHRwOi8vd3d3LmJvbGRvbmphbWVzLmNvbS8yMDA4LzAxL3NpZS9pbnRlcm5hbC9sYWJlbCIgLz48ZWxlbWVudCB1aWQ9ImJiYTk0YzY1LWFjM2QtNGYzNC1iMmUxLThkZTExZWY2ZjAxYyIgdmFsdWU9IiIgeG1sbnM9Imh0dHA6Ly93d3cuYm9sZG9uamFtZXMuY29tLzIwMDgvMDEvc2llL2ludGVybmFsL2xhYmVsIiAvPjxlbGVtZW50IHVpZD0iYmMyYjdjMDEtNmRiMS00ZTdkLTg4ZDEtZmM2MTY3NGY4NmZkIiB2YWx1ZT0iIiB4bWxucz0iaHR0cDovL3d3dy5ib2xkb25qYW1lcy5jb20vMjAwOC8wMS9zaWUvaW50ZXJuYWwvbGFiZWwiIC8+PGVsZW1lbnQgdWlkPSI5MmU5OTNhMy1hZjMyLTRhZmItYWExOS0zYTQ5Y2RiODJjN2EiIHZhbHVlPSIiIHhtbG5zPSJodHRwOi8vd3d3LmJvbGRvbmphbWVzLmNvbS8yMDA4LzAxL3NpZS9pbnRlcm5hbC9sYWJlbCIgLz48L3Npc2w+PFVzZXJOYW1lPlVTXG5ycDAyNDE1ODI8L1VzZXJOYW1lPjxEYXRlVGltZT40LzIvMjAyMCAzOjQ5OjE3IFBNPC9EYXRlVGltZT48TGFiZWxTdHJpbmc+T3JpZ2luIEp1cmlzZGljdGlvbjogVVMgIHwgVGhpcmQgUGFydHkgUHJvcHJpZXRhcnkgLSBOZWVkIHRvIEtub3cgfCBVc2UgUHJlZXhpc3RpbmcgTWFya2luZyAobm90IGFwcGxpZWQgYnkgdGhpcyB0b29sKSB8IE90aGVyIEluZm9ybWF0aW9uIChOb3QgUmVxdWlyaW5nIGFuIEV4cG9ydCBDb250cm9sIE1hcmtpbmcpIHwgTm8gbWFya2luZyBhcHBsaWVkIGJ5IHRoZSB0b29sPC9MYWJlbFN0cmluZz48L2l0ZW0+PGl0ZW0+PHNpc2wgc2lzbFZlcnNpb249IjAiIHBvbGljeT0iY2RlNTNhYzEtYmY1Zi00YWFlLTljZjEtMDc1MDllMjNhNGIwIiBvcmlnaW49InVzZXJTZWxlY3RlZCIgLz48VXNlck5hbWU+VVNcMTEwMzA4NTwvVXNlck5hbWU+PERhdGVUaW1lPjQvMjAvMjAyMCA2OjI2OjU0IFBNPC9EYXRlVGltZT48TGFiZWxTdHJpbmc+VGhpcyBhcnRpZmFjdCBoYXMgbm8gY2xhc3NpZmljYXRpb24uPC9MYWJlbFN0cmluZz48L2l0ZW0+PGl0ZW0+PHNpc2wgc2lzbFZlcnNpb249IjAiIHBvbGljeT0iY2RlNTNhYzEtYmY1Zi00YWFlLTljZjEtMDc1MDllMjNhNGIwIiBvcmlnaW49ImRlZmF1bHRWYWx1ZSI+PGVsZW1lbnQgdWlkPSJiYmE5NGM2NS1hYzNkLTRmMzQtYjJlMS04ZGUxMWVmNmYwMWMiIHZhbHVlPSIiIHhtbG5zPSJodHRwOi8vd3d3LmJvbGRvbmphbWVzLmNvbS8yMDA4LzAxL3NpZS9pbnRlcm5hbC9sYWJlbCIgLz48L3Npc2w+PFVzZXJOYW1lPlVTXG5ycDAyNDE1ODI8L1VzZXJOYW1lPjxEYXRlVGltZT4xMC83LzIwMjAgNDowMjo0NSBQTTwvRGF0ZVRpbWU+PExhYmVsU3RyaW5nPk9yaWdpbiBKdXJpc2RpY3Rpb246IFVTIDwvTGFiZWxTdHJpbmc+PC9pdGVtPjwvbGFiZWxIaXN0b3J5Pg==</Value>
</WrappedLabelHistory>
</file>

<file path=customXml/item2.xml><?xml version="1.0" encoding="utf-8"?>
<sisl xmlns:xsi="http://www.w3.org/2001/XMLSchema-instance" xmlns:xsd="http://www.w3.org/2001/XMLSchema" xmlns="http://www.boldonjames.com/2008/01/sie/internal/label" sislVersion="0" policy="cde53ac1-bf5f-4aae-9cf1-07509e23a4b0" origin="defaultValue">
  <element uid="bba94c65-ac3d-4f34-b2e1-8de11ef6f01c" value=""/>
</sisl>
</file>

<file path=customXml/itemProps1.xml><?xml version="1.0" encoding="utf-8"?>
<ds:datastoreItem xmlns:ds="http://schemas.openxmlformats.org/officeDocument/2006/customXml" ds:itemID="{45F20A76-F421-4C7E-9FA5-EB9918BB68FF}">
  <ds:schemaRefs>
    <ds:schemaRef ds:uri="http://www.w3.org/2001/XMLSchema"/>
    <ds:schemaRef ds:uri="http://www.boldonjames.com/2016/02/Classifier/internal/wrappedLabelHistory"/>
  </ds:schemaRefs>
</ds:datastoreItem>
</file>

<file path=customXml/itemProps2.xml><?xml version="1.0" encoding="utf-8"?>
<ds:datastoreItem xmlns:ds="http://schemas.openxmlformats.org/officeDocument/2006/customXml" ds:itemID="{5489B1DF-446C-4290-BB79-EA688A1291AC}">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Collins_PPT_Non_tech_data_16x9_internal</Template>
  <TotalTime>1053</TotalTime>
  <Words>2280</Words>
  <Application>Microsoft Office PowerPoint</Application>
  <PresentationFormat>Widescreen</PresentationFormat>
  <Paragraphs>265</Paragraphs>
  <Slides>27</Slides>
  <Notes>16</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1</vt:i4>
      </vt:variant>
      <vt:variant>
        <vt:lpstr>Slide Titles</vt:lpstr>
      </vt:variant>
      <vt:variant>
        <vt:i4>27</vt:i4>
      </vt:variant>
    </vt:vector>
  </HeadingPairs>
  <TitlesOfParts>
    <vt:vector size="41" baseType="lpstr">
      <vt:lpstr>Arial</vt:lpstr>
      <vt:lpstr>Calibri</vt:lpstr>
      <vt:lpstr>Gentona Book</vt:lpstr>
      <vt:lpstr>Tahoma</vt:lpstr>
      <vt:lpstr>Times New Roman</vt:lpstr>
      <vt:lpstr>Wingdings</vt:lpstr>
      <vt:lpstr>Collins Masters: Covers</vt:lpstr>
      <vt:lpstr>Collins Masters: Content</vt:lpstr>
      <vt:lpstr>Collins Masters: Section Breakers</vt:lpstr>
      <vt:lpstr>1_Collins Masters: Content</vt:lpstr>
      <vt:lpstr>2_Collins Masters: Content</vt:lpstr>
      <vt:lpstr>3_Collins Masters: Content</vt:lpstr>
      <vt:lpstr>4_Collins Masters: Content</vt:lpstr>
      <vt:lpstr>think-cell Slide</vt:lpstr>
      <vt:lpstr>Human &amp; Organizational Performance: A Mindset That Can Universally Drive Operational Excellence</vt:lpstr>
      <vt:lpstr>agend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rganizational Health In Summary</vt:lpstr>
      <vt:lpstr>Human and organizational performance (HOP) Principles</vt:lpstr>
      <vt:lpstr>Defining safety</vt:lpstr>
      <vt:lpstr>Work As Imagined (Prescribed) vs. Work As Done</vt:lpstr>
      <vt:lpstr>Work as IMAGINED vs work as DONE</vt:lpstr>
      <vt:lpstr>Work as Done vs work as imagined</vt:lpstr>
      <vt:lpstr>Human and organizational performance </vt:lpstr>
      <vt:lpstr>People Make mistakes</vt:lpstr>
      <vt:lpstr>Blame fixes nothing</vt:lpstr>
      <vt:lpstr>Blame is incompatible with safety</vt:lpstr>
      <vt:lpstr>Context drives behavior</vt:lpstr>
      <vt:lpstr>Local rationality</vt:lpstr>
      <vt:lpstr>Learning and improving is vital</vt:lpstr>
      <vt:lpstr>Learning and improving is vital</vt:lpstr>
      <vt:lpstr>Leader’s response matters</vt:lpstr>
      <vt:lpstr>Human and organizational performan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anded Event Factors Chart</dc:title>
  <dc:subject>[rtnipcontrolcode:rtnipcontrolcodenone||rtnexportcontrolcountry:usa|rtnexportcontrolcode:rtnexportcontrolcodenone||]</dc:subject>
  <dc:creator>Twerdy, Matthew J                            Collins</dc:creator>
  <cp:keywords>AM Template</cp:keywords>
  <dc:description>AM Template;</dc:description>
  <cp:lastModifiedBy>Twerdy, Matthew J                            Collins</cp:lastModifiedBy>
  <cp:revision>98</cp:revision>
  <cp:lastPrinted>2022-06-17T13:19:22Z</cp:lastPrinted>
  <dcterms:created xsi:type="dcterms:W3CDTF">2022-02-09T23:37:28Z</dcterms:created>
  <dcterms:modified xsi:type="dcterms:W3CDTF">2023-01-19T19:00:01Z</dcterms:modified>
  <cp:category>AM Template</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bb64deb3-b5ac-4347-88a3-8a542b8e6f51</vt:lpwstr>
  </property>
  <property fmtid="{D5CDD505-2E9C-101B-9397-08002B2CF9AE}" pid="3" name="bjSaver">
    <vt:lpwstr>A2AB0OuaTTiL2YVHw3qxYann2Jd9uCN6</vt:lpwstr>
  </property>
  <property fmtid="{D5CDD505-2E9C-101B-9397-08002B2CF9AE}" pid="4" name="rtnipcontrolcode">
    <vt:lpwstr>rtnipcontrolcodenone</vt:lpwstr>
  </property>
  <property fmtid="{D5CDD505-2E9C-101B-9397-08002B2CF9AE}" pid="5" name="rtnexportcontrolcode">
    <vt:lpwstr>rtnexportcontrolcodenone</vt:lpwstr>
  </property>
  <property fmtid="{D5CDD505-2E9C-101B-9397-08002B2CF9AE}" pid="6" name="bjDocumentLabelXML">
    <vt:lpwstr>&lt;?xml version="1.0" encoding="us-ascii"?&gt;&lt;sisl xmlns:xsi="http://www.w3.org/2001/XMLSchema-instance" xmlns:xsd="http://www.w3.org/2001/XMLSchema" sislVersion="0" policy="cde53ac1-bf5f-4aae-9cf1-07509e23a4b0" origin="defaultValue" xmlns="http://www.boldonj</vt:lpwstr>
  </property>
  <property fmtid="{D5CDD505-2E9C-101B-9397-08002B2CF9AE}" pid="7" name="bjDocumentLabelXML-0">
    <vt:lpwstr>ames.com/2008/01/sie/internal/label"&gt;&lt;element uid="bba94c65-ac3d-4f34-b2e1-8de11ef6f01c" value="" /&gt;&lt;/sisl&gt;</vt:lpwstr>
  </property>
  <property fmtid="{D5CDD505-2E9C-101B-9397-08002B2CF9AE}" pid="8" name="bjDocumentSecurityLabel">
    <vt:lpwstr>Origin Jurisdiction: US </vt:lpwstr>
  </property>
  <property fmtid="{D5CDD505-2E9C-101B-9397-08002B2CF9AE}" pid="9" name="rtnexportcontrolcountry">
    <vt:lpwstr>usa</vt:lpwstr>
  </property>
  <property fmtid="{D5CDD505-2E9C-101B-9397-08002B2CF9AE}" pid="10" name="bjClsUserRVM">
    <vt:lpwstr>[]</vt:lpwstr>
  </property>
  <property fmtid="{D5CDD505-2E9C-101B-9397-08002B2CF9AE}" pid="11" name="bjLabelHistoryID">
    <vt:lpwstr>{45F20A76-F421-4C7E-9FA5-EB9918BB68FF}</vt:lpwstr>
  </property>
  <property fmtid="{D5CDD505-2E9C-101B-9397-08002B2CF9AE}" pid="12" name="TitusGUID">
    <vt:lpwstr>296c2262-6628-488d-9dd8-82638105162a</vt:lpwstr>
  </property>
  <property fmtid="{D5CDD505-2E9C-101B-9397-08002B2CF9AE}" pid="13" name="MSIP_Label_4447dd6a-a4a1-440b-a6a3-9124ef1ee017_Enabled">
    <vt:lpwstr>true</vt:lpwstr>
  </property>
  <property fmtid="{D5CDD505-2E9C-101B-9397-08002B2CF9AE}" pid="14" name="MSIP_Label_4447dd6a-a4a1-440b-a6a3-9124ef1ee017_SetDate">
    <vt:lpwstr>2022-02-09T23:43:49Z</vt:lpwstr>
  </property>
  <property fmtid="{D5CDD505-2E9C-101B-9397-08002B2CF9AE}" pid="15" name="MSIP_Label_4447dd6a-a4a1-440b-a6a3-9124ef1ee017_Method">
    <vt:lpwstr>Privileged</vt:lpwstr>
  </property>
  <property fmtid="{D5CDD505-2E9C-101B-9397-08002B2CF9AE}" pid="16" name="MSIP_Label_4447dd6a-a4a1-440b-a6a3-9124ef1ee017_Name">
    <vt:lpwstr>NO TECH DATA</vt:lpwstr>
  </property>
  <property fmtid="{D5CDD505-2E9C-101B-9397-08002B2CF9AE}" pid="17" name="MSIP_Label_4447dd6a-a4a1-440b-a6a3-9124ef1ee017_SiteId">
    <vt:lpwstr>7a18110d-ef9b-4274-acef-e62ab0fe28ed</vt:lpwstr>
  </property>
  <property fmtid="{D5CDD505-2E9C-101B-9397-08002B2CF9AE}" pid="18" name="MSIP_Label_4447dd6a-a4a1-440b-a6a3-9124ef1ee017_ActionId">
    <vt:lpwstr>444fa34a-8c3b-4dae-ac80-98e75bfb33bd</vt:lpwstr>
  </property>
  <property fmtid="{D5CDD505-2E9C-101B-9397-08002B2CF9AE}" pid="19" name="MSIP_Label_4447dd6a-a4a1-440b-a6a3-9124ef1ee017_ContentBits">
    <vt:lpwstr>0</vt:lpwstr>
  </property>
</Properties>
</file>